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5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6.xml" ContentType="application/vnd.openxmlformats-officedocument.presentationml.notesSlide+xml"/>
  <Override PartName="/ppt/tags/tag10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7.xml" ContentType="application/vnd.openxmlformats-officedocument.presentationml.tags+xml"/>
  <Override PartName="/ppt/notesSlides/notesSlide9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10.xml" ContentType="application/vnd.openxmlformats-officedocument.presentationml.notesSlide+xml"/>
  <Override PartName="/ppt/tags/tag135.xml" ContentType="application/vnd.openxmlformats-officedocument.presentationml.tags+xml"/>
  <Override PartName="/ppt/notesSlides/notesSlide11.xml" ContentType="application/vnd.openxmlformats-officedocument.presentationml.notesSlide+xml"/>
  <Override PartName="/ppt/tags/tag13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  <p:sldMasterId id="2147483749" r:id="rId2"/>
  </p:sldMasterIdLst>
  <p:notesMasterIdLst>
    <p:notesMasterId r:id="rId17"/>
  </p:notesMasterIdLst>
  <p:handoutMasterIdLst>
    <p:handoutMasterId r:id="rId18"/>
  </p:handoutMasterIdLst>
  <p:sldIdLst>
    <p:sldId id="377" r:id="rId3"/>
    <p:sldId id="427" r:id="rId4"/>
    <p:sldId id="417" r:id="rId5"/>
    <p:sldId id="418" r:id="rId6"/>
    <p:sldId id="419" r:id="rId7"/>
    <p:sldId id="420" r:id="rId8"/>
    <p:sldId id="429" r:id="rId9"/>
    <p:sldId id="436" r:id="rId10"/>
    <p:sldId id="416" r:id="rId11"/>
    <p:sldId id="435" r:id="rId12"/>
    <p:sldId id="389" r:id="rId13"/>
    <p:sldId id="433" r:id="rId14"/>
    <p:sldId id="437" r:id="rId15"/>
    <p:sldId id="439" r:id="rId16"/>
  </p:sldIdLst>
  <p:sldSz cx="12192000" cy="6858000"/>
  <p:notesSz cx="6794500" cy="9906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63" userDrawn="1">
          <p15:clr>
            <a:srgbClr val="A4A3A4"/>
          </p15:clr>
        </p15:guide>
        <p15:guide id="3" orient="horz" pos="1729" userDrawn="1">
          <p15:clr>
            <a:srgbClr val="A4A3A4"/>
          </p15:clr>
        </p15:guide>
        <p15:guide id="4" orient="horz" pos="1956" userDrawn="1">
          <p15:clr>
            <a:srgbClr val="A4A3A4"/>
          </p15:clr>
        </p15:guide>
        <p15:guide id="5" orient="horz" pos="867" userDrawn="1">
          <p15:clr>
            <a:srgbClr val="A4A3A4"/>
          </p15:clr>
        </p15:guide>
        <p15:guide id="6" orient="horz" pos="436" userDrawn="1">
          <p15:clr>
            <a:srgbClr val="A4A3A4"/>
          </p15:clr>
        </p15:guide>
        <p15:guide id="7" orient="horz" pos="1638" userDrawn="1">
          <p15:clr>
            <a:srgbClr val="A4A3A4"/>
          </p15:clr>
        </p15:guide>
        <p15:guide id="8" orient="horz" pos="3045" userDrawn="1">
          <p15:clr>
            <a:srgbClr val="A4A3A4"/>
          </p15:clr>
        </p15:guide>
        <p15:guide id="9" orient="horz" pos="3475" userDrawn="1">
          <p15:clr>
            <a:srgbClr val="A4A3A4"/>
          </p15:clr>
        </p15:guide>
        <p15:guide id="10" orient="horz" pos="3906" userDrawn="1">
          <p15:clr>
            <a:srgbClr val="A4A3A4"/>
          </p15:clr>
        </p15:guide>
        <p15:guide id="11" pos="3359" userDrawn="1">
          <p15:clr>
            <a:srgbClr val="A4A3A4"/>
          </p15:clr>
        </p15:guide>
        <p15:guide id="12" pos="2880" userDrawn="1">
          <p15:clr>
            <a:srgbClr val="A4A3A4"/>
          </p15:clr>
        </p15:guide>
        <p15:guide id="13" pos="2366" userDrawn="1">
          <p15:clr>
            <a:srgbClr val="A4A3A4"/>
          </p15:clr>
        </p15:guide>
        <p15:guide id="14" pos="1935" userDrawn="1">
          <p15:clr>
            <a:srgbClr val="A4A3A4"/>
          </p15:clr>
        </p15:guide>
        <p15:guide id="15" pos="1413" userDrawn="1">
          <p15:clr>
            <a:srgbClr val="A4A3A4"/>
          </p15:clr>
        </p15:guide>
        <p15:guide id="16" pos="960" userDrawn="1">
          <p15:clr>
            <a:srgbClr val="A4A3A4"/>
          </p15:clr>
        </p15:guide>
        <p15:guide id="17" pos="483" userDrawn="1">
          <p15:clr>
            <a:srgbClr val="A4A3A4"/>
          </p15:clr>
        </p15:guide>
        <p15:guide id="18" pos="1504" userDrawn="1">
          <p15:clr>
            <a:srgbClr val="A4A3A4"/>
          </p15:clr>
        </p15:guide>
        <p15:guide id="19" pos="4725" userDrawn="1">
          <p15:clr>
            <a:srgbClr val="A4A3A4"/>
          </p15:clr>
        </p15:guide>
        <p15:guide id="20" pos="5278" userDrawn="1">
          <p15:clr>
            <a:srgbClr val="A4A3A4"/>
          </p15:clr>
        </p15:guide>
        <p15:guide id="21" pos="5756" userDrawn="1">
          <p15:clr>
            <a:srgbClr val="A4A3A4"/>
          </p15:clr>
        </p15:guide>
        <p15:guide id="22" pos="6221" userDrawn="1">
          <p15:clr>
            <a:srgbClr val="A4A3A4"/>
          </p15:clr>
        </p15:guide>
        <p15:guide id="23" pos="6720" userDrawn="1">
          <p15:clr>
            <a:srgbClr val="A4A3A4"/>
          </p15:clr>
        </p15:guide>
        <p15:guide id="24" pos="7197" userDrawn="1">
          <p15:clr>
            <a:srgbClr val="A4A3A4"/>
          </p15:clr>
        </p15:guide>
        <p15:guide id="25" orient="horz" pos="2160" userDrawn="1">
          <p15:clr>
            <a:srgbClr val="A4A3A4"/>
          </p15:clr>
        </p15:guide>
        <p15:guide id="26" orient="horz" pos="87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7673"/>
    <a:srgbClr val="FF66C4"/>
    <a:srgbClr val="41B9E6"/>
    <a:srgbClr val="FF009D"/>
    <a:srgbClr val="E71401"/>
    <a:srgbClr val="55BE5A"/>
    <a:srgbClr val="0655FA"/>
    <a:srgbClr val="461E7D"/>
    <a:srgbClr val="FFF55A"/>
    <a:srgbClr val="00FFFA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48" autoAdjust="0"/>
    <p:restoredTop sz="96552" autoAdjust="0"/>
  </p:normalViewPr>
  <p:slideViewPr>
    <p:cSldViewPr snapToGrid="0" snapToObjects="1">
      <p:cViewPr varScale="1">
        <p:scale>
          <a:sx n="90" d="100"/>
          <a:sy n="90" d="100"/>
        </p:scale>
        <p:origin x="180" y="63"/>
      </p:cViewPr>
      <p:guideLst>
        <p:guide pos="3863"/>
        <p:guide orient="horz" pos="1729"/>
        <p:guide orient="horz" pos="1956"/>
        <p:guide orient="horz" pos="867"/>
        <p:guide orient="horz" pos="436"/>
        <p:guide orient="horz" pos="1638"/>
        <p:guide orient="horz" pos="3045"/>
        <p:guide orient="horz" pos="3475"/>
        <p:guide orient="horz" pos="3906"/>
        <p:guide pos="3359"/>
        <p:guide pos="2880"/>
        <p:guide pos="2366"/>
        <p:guide pos="1935"/>
        <p:guide pos="1413"/>
        <p:guide pos="960"/>
        <p:guide pos="483"/>
        <p:guide pos="1504"/>
        <p:guide pos="4725"/>
        <p:guide pos="5278"/>
        <p:guide pos="5756"/>
        <p:guide pos="6221"/>
        <p:guide pos="6720"/>
        <p:guide pos="7197"/>
        <p:guide orient="horz" pos="2160"/>
        <p:guide orient="horz" pos="8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299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emf"/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283" cy="495300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5" y="1"/>
            <a:ext cx="2944283" cy="495300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4A71F510-2865-AD40-B295-EFE53B47B615}" type="datetimeFigureOut">
              <a:rPr lang="en-US" smtClean="0"/>
              <a:pPr/>
              <a:t>2/2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8982"/>
            <a:ext cx="2944283" cy="495300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5" y="9408982"/>
            <a:ext cx="2944283" cy="495300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FB7C96FB-A7F6-4D46-979D-BE69A3DE088F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5753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283" cy="497020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 eaLnBrk="1">
              <a:defRPr sz="1200"/>
            </a:lvl1pPr>
          </a:lstStyle>
          <a:p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1"/>
            <a:ext cx="2944283" cy="497020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038A2DA8-FDC1-D147-9E87-8AE9AC161936}" type="datetimeFigureOut">
              <a:rPr lang="it-IT" smtClean="0"/>
              <a:pPr/>
              <a:t>20/02/2018</a:t>
            </a:fld>
            <a:endParaRPr lang="it-IT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 eaLnBrk="1">
              <a:defRPr sz="1200"/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1A54B304-E99A-554B-A154-AA493B70D9FA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503023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67263"/>
            <a:ext cx="5435600" cy="3900488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508585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67263"/>
            <a:ext cx="5435600" cy="3900487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10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214938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67263"/>
            <a:ext cx="5435600" cy="3900488"/>
          </a:xfrm>
          <a:prstGeom prst="rect">
            <a:avLst/>
          </a:prstGeom>
        </p:spPr>
        <p:txBody>
          <a:bodyPr/>
          <a:lstStyle/>
          <a:p>
            <a:pPr algn="l"/>
            <a:endParaRPr lang="it-IT" sz="1200" b="0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1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893028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1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502082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67263"/>
            <a:ext cx="5435600" cy="3900487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1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3861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67263"/>
            <a:ext cx="5435600" cy="3900487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127768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931" y="4925418"/>
            <a:ext cx="5679440" cy="4029879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C3394E-D143-4279-9D35-00FCEFB29616}" type="slidenum">
              <a:rPr lang="it-IT" smtClean="0"/>
              <a:pPr/>
              <a:t>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89509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709931" y="4925418"/>
            <a:ext cx="5679440" cy="4029879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660476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709931" y="4925418"/>
            <a:ext cx="5679440" cy="4029879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14910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709931" y="4925418"/>
            <a:ext cx="5679440" cy="4029879"/>
          </a:xfrm>
          <a:prstGeom prst="rect">
            <a:avLst/>
          </a:prstGeo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C3394E-D143-4279-9D35-00FCEFB29616}" type="slidenum">
              <a:rPr lang="it-IT" smtClean="0"/>
              <a:t>6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668755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/>
          <a:lstStyle/>
          <a:p>
            <a:pPr marL="171450" marR="0" indent="-171450" algn="l" defTabSz="715792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3C0FF5-A181-4807-820F-B1DC30B8B01A}" type="slidenum">
              <a:rPr lang="it-IT" smtClean="0">
                <a:solidFill>
                  <a:prstClr val="black"/>
                </a:solidFill>
              </a:rPr>
              <a:pPr/>
              <a:t>7</a:t>
            </a:fld>
            <a:endParaRPr lang="it-IT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4121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450" y="4767263"/>
            <a:ext cx="5435600" cy="3900487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4B304-E99A-554B-A154-AA493B70D9FA}" type="slidenum">
              <a:rPr lang="it-IT" smtClean="0"/>
              <a:pPr/>
              <a:t>8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197528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>
          <a:xfrm>
            <a:off x="709931" y="4925418"/>
            <a:ext cx="5679440" cy="4029879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78BA31-D5F7-4C53-A581-CB18DD3EB4FE}" type="slidenum">
              <a:rPr lang="it-IT" smtClean="0"/>
              <a:t>9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03250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693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3" name="think-cell Slide" r:id="rId4" imgW="592" imgH="584" progId="TCLayout.ActiveDocument.1">
                  <p:embed/>
                </p:oleObj>
              </mc:Choice>
              <mc:Fallback>
                <p:oleObj name="think-cell Slide" r:id="rId4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7616826" cy="490342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344228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1995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436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" name="think-cell Slide" r:id="rId4" imgW="592" imgH="584" progId="TCLayout.ActiveDocument.1">
                  <p:embed/>
                </p:oleObj>
              </mc:Choice>
              <mc:Fallback>
                <p:oleObj name="think-cell Slide" r:id="rId4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45860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08808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 b="0">
                <a:solidFill>
                  <a:schemeClr val="tx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 eaLnBrk="1"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endParaRPr lang="it-IT" dirty="0"/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650" y="704487"/>
            <a:ext cx="2289172" cy="576458"/>
          </a:xfrm>
          <a:prstGeom prst="rect">
            <a:avLst/>
          </a:prstGeom>
        </p:spPr>
      </p:pic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E7F8EF-AB7E-8B46-999D-090F56F9ACE9}" type="datetime1">
              <a:rPr lang="it-IT" smtClean="0"/>
              <a:pPr/>
              <a:t>20/02/2018</a:t>
            </a:fld>
            <a:endParaRPr lang="it-IT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69437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 eaLnBrk="1"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endParaRPr lang="it-IT" dirty="0"/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650" y="704487"/>
            <a:ext cx="2289172" cy="576458"/>
          </a:xfrm>
          <a:prstGeom prst="rect">
            <a:avLst/>
          </a:prstGeom>
        </p:spPr>
      </p:pic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E7F8EF-AB7E-8B46-999D-090F56F9ACE9}" type="datetime1">
              <a:rPr lang="it-IT" smtClean="0"/>
              <a:pPr/>
              <a:t>20/02/2018</a:t>
            </a:fld>
            <a:endParaRPr lang="it-IT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 eaLnBrk="1"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endParaRPr lang="it-IT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650" y="704487"/>
            <a:ext cx="2289172" cy="576458"/>
          </a:xfrm>
          <a:prstGeom prst="rect">
            <a:avLst/>
          </a:prstGeom>
        </p:spPr>
      </p:pic>
      <p:sp>
        <p:nvSpPr>
          <p:cNvPr id="6" name="Date Placeholder 3"/>
          <p:cNvSpPr txBox="1">
            <a:spLocks/>
          </p:cNvSpPr>
          <p:nvPr userDrawn="1"/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E7F8EF-AB7E-8B46-999D-090F56F9ACE9}" type="datetime1">
              <a:rPr lang="it-IT" smtClean="0"/>
              <a:pPr/>
              <a:t>20/02/2018</a:t>
            </a:fld>
            <a:endParaRPr lang="it-IT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01318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282825" y="1160463"/>
            <a:ext cx="5534519" cy="3495811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650" y="704487"/>
            <a:ext cx="2289172" cy="576458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282825" y="1160463"/>
            <a:ext cx="5534519" cy="3495811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650" y="704487"/>
            <a:ext cx="2289172" cy="576458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2282825" y="1160463"/>
            <a:ext cx="5534519" cy="3495811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650" y="704487"/>
            <a:ext cx="2289172" cy="576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043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_NEG"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 eaLnBrk="1"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endParaRPr lang="it-IT" dirty="0"/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  <p:sp>
        <p:nvSpPr>
          <p:cNvPr id="7" name="Date Placeholder 3"/>
          <p:cNvSpPr txBox="1">
            <a:spLocks/>
          </p:cNvSpPr>
          <p:nvPr userDrawn="1"/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it-IT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it-IT" dirty="0" smtClean="0"/>
          </a:p>
          <a:p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_NEG"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 eaLnBrk="1"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Date Placeholder 3"/>
          <p:cNvSpPr txBox="1">
            <a:spLocks/>
          </p:cNvSpPr>
          <p:nvPr userDrawn="1"/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4E7F8EF-AB7E-8B46-999D-090F56F9ACE9}" type="datetime1">
              <a:rPr lang="it-IT" smtClean="0"/>
              <a:pPr/>
              <a:t>20/02/2018</a:t>
            </a:fld>
            <a:endParaRPr lang="it-IT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NEG"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 b="0">
                <a:solidFill>
                  <a:schemeClr val="accent4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 eaLnBrk="1">
              <a:lnSpc>
                <a:spcPct val="90000"/>
              </a:lnSpc>
              <a:defRPr sz="1800">
                <a:solidFill>
                  <a:schemeClr val="bg1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Date Placeholder 3"/>
          <p:cNvSpPr txBox="1">
            <a:spLocks/>
          </p:cNvSpPr>
          <p:nvPr userDrawn="1"/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lnSpc>
                <a:spcPct val="90000"/>
              </a:lnSpc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/>
            <a:endParaRPr lang="it-IT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2"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2282826" y="1160463"/>
            <a:ext cx="5333999" cy="1461284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4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204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Header 2"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2282826" y="1160463"/>
            <a:ext cx="5333999" cy="1461284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ection Header 2"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2282826" y="1160463"/>
            <a:ext cx="5333999" cy="1461284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Header 2">
    <p:bg>
      <p:bgPr>
        <a:solidFill>
          <a:srgbClr val="1E2D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2282826" y="1173910"/>
            <a:ext cx="6095999" cy="1569290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6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16" name="Immagin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663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eaLnBrk="1">
              <a:spcBef>
                <a:spcPts val="1200"/>
              </a:spcBef>
              <a:spcAft>
                <a:spcPts val="1200"/>
              </a:spcAft>
              <a:defRPr sz="3800" baseline="0"/>
            </a:lvl1pPr>
            <a:lvl2pPr>
              <a:defRPr i="1"/>
            </a:lvl2pPr>
          </a:lstStyle>
          <a:p>
            <a:pPr lvl="0"/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4321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Message Only"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31036" y="2057400"/>
            <a:ext cx="7606614" cy="3577306"/>
          </a:xfrm>
        </p:spPr>
        <p:txBody>
          <a:bodyPr/>
          <a:lstStyle>
            <a:lvl1pPr>
              <a:defRPr sz="4800" b="0">
                <a:solidFill>
                  <a:schemeClr val="accent4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7616826" cy="490342"/>
          </a:xfrm>
        </p:spPr>
        <p:txBody>
          <a:bodyPr/>
          <a:lstStyle>
            <a:lvl1pPr>
              <a:defRPr b="0">
                <a:solidFill>
                  <a:schemeClr val="accent4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25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7616827" cy="329768"/>
          </a:xfrm>
        </p:spPr>
        <p:txBody>
          <a:bodyPr rIns="0"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pic>
        <p:nvPicPr>
          <p:cNvPr id="30" name="Immagine 2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229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ey Message Only">
    <p:bg>
      <p:bgPr>
        <a:solidFill>
          <a:srgbClr val="1E2D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31036" y="2057400"/>
            <a:ext cx="7606614" cy="3577306"/>
          </a:xfrm>
        </p:spPr>
        <p:txBody>
          <a:bodyPr/>
          <a:lstStyle>
            <a:lvl1pPr>
              <a:defRPr sz="4800" b="0">
                <a:solidFill>
                  <a:schemeClr val="accent6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pic>
        <p:nvPicPr>
          <p:cNvPr id="18" name="Immagin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2841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7616826" cy="490342"/>
          </a:xfrm>
        </p:spPr>
        <p:txBody>
          <a:bodyPr/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344228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agma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2" y="0"/>
            <a:ext cx="12188278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31036" y="2057400"/>
            <a:ext cx="7606614" cy="3577306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61999" y="670120"/>
            <a:ext cx="7638769" cy="41524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7638769" cy="286234"/>
          </a:xfrm>
        </p:spPr>
        <p:txBody>
          <a:bodyPr rIns="0"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Magma B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"/>
            <a:ext cx="12192000" cy="6858001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1531036" y="2057400"/>
            <a:ext cx="7606614" cy="3577306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38768" cy="415245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1085366"/>
            <a:ext cx="7638768" cy="286234"/>
          </a:xfrm>
        </p:spPr>
        <p:txBody>
          <a:bodyPr rIns="0"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Cursor Violet Logo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16" y="3507"/>
            <a:ext cx="12175831" cy="6850985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536665" y="2763078"/>
            <a:ext cx="5321336" cy="2034348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4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5" name="Segnaposto data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8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573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07"/>
            <a:ext cx="12196916" cy="6850985"/>
          </a:xfrm>
          <a:prstGeom prst="rect">
            <a:avLst/>
          </a:prstGeom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1524001" y="2743200"/>
            <a:ext cx="5334000" cy="1557684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4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5" name="Segnaposto data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8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 Cursor Violet Logo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7929"/>
            <a:ext cx="12192000" cy="6857914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536664" y="1406151"/>
            <a:ext cx="6076985" cy="2054225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4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5" name="Segnaposto data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8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ntro Cursor Violet Logo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87622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536664" y="1406151"/>
            <a:ext cx="6076985" cy="2054225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5" name="Segnaposto data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8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575"/>
            <a:ext cx="12169504" cy="6847425"/>
          </a:xfrm>
          <a:prstGeom prst="rect">
            <a:avLst/>
          </a:prstGeom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1524001" y="714477"/>
            <a:ext cx="4571999" cy="1557684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6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6" name="Segnaposto data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8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9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973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287"/>
            <a:ext cx="12169504" cy="6847425"/>
          </a:xfrm>
          <a:prstGeom prst="rect">
            <a:avLst/>
          </a:prstGeom>
        </p:spPr>
      </p:pic>
      <p:sp>
        <p:nvSpPr>
          <p:cNvPr id="14" name="Title 9"/>
          <p:cNvSpPr>
            <a:spLocks noGrp="1"/>
          </p:cNvSpPr>
          <p:nvPr>
            <p:ph type="title" hasCustomPrompt="1"/>
          </p:nvPr>
        </p:nvSpPr>
        <p:spPr>
          <a:xfrm>
            <a:off x="1524001" y="3419061"/>
            <a:ext cx="4572000" cy="1557684"/>
          </a:xfrm>
        </p:spPr>
        <p:txBody>
          <a:bodyPr>
            <a:noAutofit/>
          </a:bodyPr>
          <a:lstStyle>
            <a:lvl1pPr>
              <a:defRPr sz="4000" b="0">
                <a:solidFill>
                  <a:schemeClr val="accent6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</a:t>
            </a:r>
            <a:br>
              <a:rPr lang="it-IT" dirty="0" smtClean="0"/>
            </a:br>
            <a:r>
              <a:rPr lang="it-IT" dirty="0" smtClean="0"/>
              <a:t>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5" name="Segnaposto data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8" name="Segnaposto piè di pagina 3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9" name="Segnaposto numero diapositiva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gative on Photo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5" y="6434981"/>
            <a:ext cx="8381999" cy="153888"/>
          </a:xfrm>
        </p:spPr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212" y="395088"/>
            <a:ext cx="2349753" cy="1174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128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522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7" name="think-cell Slide" r:id="rId4" imgW="592" imgH="584" progId="TCLayout.ActiveDocument.1">
                  <p:embed/>
                </p:oleObj>
              </mc:Choice>
              <mc:Fallback>
                <p:oleObj name="think-cell Slide" r:id="rId4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22459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58372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3070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7" name="think-cell Slide" r:id="rId4" imgW="592" imgH="584" progId="TCLayout.ActiveDocument.1">
                  <p:embed/>
                </p:oleObj>
              </mc:Choice>
              <mc:Fallback>
                <p:oleObj name="think-cell Slide" r:id="rId4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/>
          <a:p>
            <a:fld id="{8B48BD60-4E26-4D24-8B57-B7CFB8E22FB9}" type="datetime1">
              <a:rPr lang="it-IT" smtClean="0">
                <a:solidFill>
                  <a:srgbClr val="C6C6C6">
                    <a:lumMod val="75000"/>
                  </a:srgbClr>
                </a:solidFill>
              </a:rPr>
              <a:t>20/02/2018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98851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744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0EB17635-CEFA-4536-8C2B-73576CBB1863}" type="datetime1">
              <a:rPr lang="it-IT" smtClean="0"/>
              <a:t>20/02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it-IT" dirty="0" smtClean="0"/>
              <a:t>Presentation </a:t>
            </a:r>
            <a:r>
              <a:rPr lang="it-IT" dirty="0" err="1" smtClean="0"/>
              <a:t>footer</a:t>
            </a:r>
            <a:r>
              <a:rPr lang="it-IT" dirty="0" smtClean="0"/>
              <a:t> 10PT </a:t>
            </a:r>
            <a:r>
              <a:rPr lang="it-IT" dirty="0" err="1" smtClean="0"/>
              <a:t>grey</a:t>
            </a:r>
            <a:r>
              <a:rPr lang="it-IT" dirty="0" smtClean="0"/>
              <a:t>. </a:t>
            </a:r>
            <a:r>
              <a:rPr lang="it-IT" dirty="0" err="1" smtClean="0"/>
              <a:t>Please</a:t>
            </a:r>
            <a:r>
              <a:rPr lang="it-IT" dirty="0" smtClean="0"/>
              <a:t> </a:t>
            </a:r>
            <a:r>
              <a:rPr lang="it-IT" dirty="0" err="1" smtClean="0"/>
              <a:t>add</a:t>
            </a:r>
            <a:r>
              <a:rPr lang="it-IT" dirty="0" smtClean="0"/>
              <a:t> the </a:t>
            </a:r>
            <a:r>
              <a:rPr lang="it-IT" dirty="0" err="1" smtClean="0"/>
              <a:t>relevant</a:t>
            </a:r>
            <a:r>
              <a:rPr lang="it-IT" dirty="0" smtClean="0"/>
              <a:t> country to the </a:t>
            </a:r>
            <a:r>
              <a:rPr lang="it-IT" dirty="0" err="1" smtClean="0"/>
              <a:t>footer</a:t>
            </a:r>
            <a:r>
              <a:rPr lang="it-IT" dirty="0" smtClean="0"/>
              <a:t>.</a:t>
            </a:r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64825" y="6608250"/>
            <a:ext cx="762000" cy="153888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514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0" name="think-cell Slide" r:id="rId4" imgW="592" imgH="584" progId="TCLayout.ActiveDocument.1">
                  <p:embed/>
                </p:oleObj>
              </mc:Choice>
              <mc:Fallback>
                <p:oleObj name="think-cell Slide" r:id="rId4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C664EFCB-3668-454A-BFBD-B3F442832422}" type="datetime1">
              <a:rPr lang="it-IT" smtClean="0"/>
              <a:t>20/02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05442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908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2" name="think-cell Slide" r:id="rId4" imgW="592" imgH="584" progId="TCLayout.ActiveDocument.1">
                  <p:embed/>
                </p:oleObj>
              </mc:Choice>
              <mc:Fallback>
                <p:oleObj name="think-cell Slide" r:id="rId4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tsLYN" hidden="1"/>
          <p:cNvSpPr/>
          <p:nvPr userDrawn="1"/>
        </p:nvSpPr>
        <p:spPr>
          <a:xfrm>
            <a:off x="0" y="0"/>
            <a:ext cx="0" cy="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33" dirty="0" smtClean="0">
                <a:solidFill>
                  <a:prstClr val="white"/>
                </a:solidFill>
              </a:rPr>
              <a:t>Title and Content</a:t>
            </a:r>
            <a:endParaRPr lang="it-IT" sz="1633" dirty="0">
              <a:solidFill>
                <a:prstClr val="white"/>
              </a:solidFill>
            </a:endParaRPr>
          </a:p>
        </p:txBody>
      </p:sp>
      <p:sp>
        <p:nvSpPr>
          <p:cNvPr id="8" name="ctsSource"/>
          <p:cNvSpPr>
            <a:spLocks noGrp="1"/>
          </p:cNvSpPr>
          <p:nvPr>
            <p:ph type="body" sz="quarter" idx="12" hasCustomPrompt="1"/>
          </p:nvPr>
        </p:nvSpPr>
        <p:spPr>
          <a:xfrm>
            <a:off x="512301" y="6107298"/>
            <a:ext cx="11167400" cy="195861"/>
          </a:xfrm>
        </p:spPr>
        <p:txBody>
          <a:bodyPr anchor="b" anchorCtr="0">
            <a:noAutofit/>
          </a:bodyPr>
          <a:lstStyle>
            <a:lvl1pPr marL="0" indent="0">
              <a:buNone/>
              <a:defRPr sz="907" i="1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add</a:t>
            </a:r>
            <a:r>
              <a:rPr lang="it-IT" dirty="0" smtClean="0"/>
              <a:t> Source/Note</a:t>
            </a:r>
            <a:endParaRPr lang="it-IT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513140" y="1404148"/>
            <a:ext cx="11165933" cy="4637287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pPr lvl="0"/>
            <a:r>
              <a:rPr lang="it-IT" dirty="0" err="1" smtClean="0"/>
              <a:t>Insert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5"/>
            <a:r>
              <a:rPr lang="it-IT" dirty="0" smtClean="0"/>
              <a:t>Sixth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6"/>
            <a:r>
              <a:rPr lang="it-IT" dirty="0" err="1" smtClean="0"/>
              <a:t>Seven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7"/>
            <a:r>
              <a:rPr lang="it-IT" dirty="0" err="1" smtClean="0"/>
              <a:t>Eigh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8"/>
            <a:r>
              <a:rPr lang="it-IT" dirty="0" smtClean="0"/>
              <a:t>Ninth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5126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3" name="think-cell Slide" r:id="rId4" imgW="592" imgH="584" progId="TCLayout.ActiveDocument.1">
                  <p:embed/>
                </p:oleObj>
              </mc:Choice>
              <mc:Fallback>
                <p:oleObj name="think-cell Slide" r:id="rId4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EE1A94E4-F835-461C-8181-C2D3947BE2DA}" type="datetime1">
              <a:rPr lang="it-IT" smtClean="0">
                <a:solidFill>
                  <a:srgbClr val="C6C6C6">
                    <a:lumMod val="75000"/>
                  </a:srgbClr>
                </a:solidFill>
              </a:rPr>
              <a:t>20/02/2018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it-IT" dirty="0" smtClean="0">
                <a:solidFill>
                  <a:srgbClr val="C6C6C6">
                    <a:lumMod val="75000"/>
                  </a:srgbClr>
                </a:solidFill>
              </a:rPr>
              <a:t>Presentation </a:t>
            </a:r>
            <a:r>
              <a:rPr lang="it-IT" dirty="0" err="1" smtClean="0">
                <a:solidFill>
                  <a:srgbClr val="C6C6C6">
                    <a:lumMod val="75000"/>
                  </a:srgbClr>
                </a:solidFill>
              </a:rPr>
              <a:t>footer</a:t>
            </a:r>
            <a:r>
              <a:rPr lang="it-IT" dirty="0" smtClean="0">
                <a:solidFill>
                  <a:srgbClr val="C6C6C6">
                    <a:lumMod val="75000"/>
                  </a:srgbClr>
                </a:solidFill>
              </a:rPr>
              <a:t> 10PT </a:t>
            </a:r>
            <a:r>
              <a:rPr lang="it-IT" dirty="0" err="1" smtClean="0">
                <a:solidFill>
                  <a:srgbClr val="C6C6C6">
                    <a:lumMod val="75000"/>
                  </a:srgbClr>
                </a:solidFill>
              </a:rPr>
              <a:t>grey</a:t>
            </a:r>
            <a:r>
              <a:rPr lang="it-IT" dirty="0" smtClean="0">
                <a:solidFill>
                  <a:srgbClr val="C6C6C6">
                    <a:lumMod val="75000"/>
                  </a:srgbClr>
                </a:solidFill>
              </a:rPr>
              <a:t>. </a:t>
            </a:r>
            <a:r>
              <a:rPr lang="it-IT" dirty="0" err="1" smtClean="0">
                <a:solidFill>
                  <a:srgbClr val="C6C6C6">
                    <a:lumMod val="75000"/>
                  </a:srgbClr>
                </a:solidFill>
              </a:rPr>
              <a:t>Please</a:t>
            </a:r>
            <a:r>
              <a:rPr lang="it-IT" dirty="0" smtClean="0">
                <a:solidFill>
                  <a:srgbClr val="C6C6C6">
                    <a:lumMod val="75000"/>
                  </a:srgbClr>
                </a:solidFill>
              </a:rPr>
              <a:t> </a:t>
            </a:r>
            <a:r>
              <a:rPr lang="it-IT" dirty="0" err="1" smtClean="0">
                <a:solidFill>
                  <a:srgbClr val="C6C6C6">
                    <a:lumMod val="75000"/>
                  </a:srgbClr>
                </a:solidFill>
              </a:rPr>
              <a:t>add</a:t>
            </a:r>
            <a:r>
              <a:rPr lang="it-IT" dirty="0" smtClean="0">
                <a:solidFill>
                  <a:srgbClr val="C6C6C6">
                    <a:lumMod val="75000"/>
                  </a:srgbClr>
                </a:solidFill>
              </a:rPr>
              <a:t> the </a:t>
            </a:r>
            <a:r>
              <a:rPr lang="it-IT" dirty="0" err="1" smtClean="0">
                <a:solidFill>
                  <a:srgbClr val="C6C6C6">
                    <a:lumMod val="75000"/>
                  </a:srgbClr>
                </a:solidFill>
              </a:rPr>
              <a:t>relevant</a:t>
            </a:r>
            <a:r>
              <a:rPr lang="it-IT" dirty="0" smtClean="0">
                <a:solidFill>
                  <a:srgbClr val="C6C6C6">
                    <a:lumMod val="75000"/>
                  </a:srgbClr>
                </a:solidFill>
              </a:rPr>
              <a:t> country to the </a:t>
            </a:r>
            <a:r>
              <a:rPr lang="it-IT" dirty="0" err="1" smtClean="0">
                <a:solidFill>
                  <a:srgbClr val="C6C6C6">
                    <a:lumMod val="75000"/>
                  </a:srgbClr>
                </a:solidFill>
              </a:rPr>
              <a:t>footer</a:t>
            </a:r>
            <a:r>
              <a:rPr lang="it-IT" dirty="0" smtClean="0">
                <a:solidFill>
                  <a:srgbClr val="C6C6C6">
                    <a:lumMod val="75000"/>
                  </a:srgbClr>
                </a:solidFill>
              </a:rPr>
              <a:t>.</a:t>
            </a:r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11092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8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6" y="3429009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67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0" y="3429009"/>
            <a:ext cx="1510613" cy="276999"/>
          </a:xfrm>
        </p:spPr>
        <p:txBody>
          <a:bodyPr anchor="t">
            <a:noAutofit/>
          </a:bodyPr>
          <a:lstStyle>
            <a:lvl1pPr eaLnBrk="1">
              <a:lnSpc>
                <a:spcPct val="90000"/>
              </a:lnSpc>
              <a:defRPr sz="1867">
                <a:solidFill>
                  <a:schemeClr val="tx1"/>
                </a:solidFill>
              </a:defRPr>
            </a:lvl1pPr>
          </a:lstStyle>
          <a:p>
            <a:endParaRPr lang="it-IT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3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/>
          <a:lstStyle/>
          <a:p>
            <a:pPr algn="ctr" defTabSz="914377" eaLnBrk="1"/>
            <a:endParaRPr lang="it-IT" sz="1867" dirty="0">
              <a:solidFill>
                <a:prstClr val="black"/>
              </a:solidFill>
            </a:endParaRPr>
          </a:p>
        </p:txBody>
      </p:sp>
      <p:pic>
        <p:nvPicPr>
          <p:cNvPr id="1026" name="Picture 2" descr="\\psf\Home\Desktop\ENELLOGO1.jp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519703" y="5483227"/>
            <a:ext cx="1907123" cy="6910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82291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3302371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67"/>
            </a:lvl1pPr>
            <a:lvl2pPr>
              <a:defRPr i="1"/>
            </a:lvl2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7"/>
            <a:ext cx="8375651" cy="276999"/>
          </a:xfrm>
        </p:spPr>
        <p:txBody>
          <a:bodyPr rIns="0">
            <a:noAutofit/>
          </a:bodyPr>
          <a:lstStyle>
            <a:lvl1pPr>
              <a:defRPr sz="1867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8498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7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37165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lnSpc>
                <a:spcPct val="90000"/>
              </a:lnSpc>
              <a:defRPr/>
            </a:lvl1pPr>
          </a:lstStyle>
          <a:p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‹N›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7"/>
            <a:ext cx="8375651" cy="276999"/>
          </a:xfrm>
        </p:spPr>
        <p:txBody>
          <a:bodyPr rIns="0">
            <a:noAutofit/>
          </a:bodyPr>
          <a:lstStyle>
            <a:lvl1pPr>
              <a:defRPr sz="1867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90633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7616826" cy="490342"/>
          </a:xfrm>
        </p:spPr>
        <p:txBody>
          <a:bodyPr/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399"/>
            <a:ext cx="3554412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399"/>
            <a:ext cx="355441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7616826" cy="415244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821594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399"/>
            <a:ext cx="3554412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399"/>
            <a:ext cx="355441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7616826" cy="415244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399"/>
            <a:ext cx="3554412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399"/>
            <a:ext cx="355441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72211" y="6434981"/>
            <a:ext cx="1510613" cy="15388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664825" y="6434981"/>
            <a:ext cx="762000" cy="153888"/>
          </a:xfrm>
          <a:prstGeom prst="rect">
            <a:avLst/>
          </a:prstGeom>
        </p:spPr>
        <p:txBody>
          <a:bodyPr/>
          <a:lstStyle/>
          <a:p>
            <a:fld id="{1ED2235E-0982-3B42-A838-A74550CD4449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1" cy="4108451"/>
          </a:xfrm>
        </p:spPr>
        <p:txBody>
          <a:bodyPr/>
          <a:lstStyle/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  <a:p>
            <a:pPr lvl="1"/>
            <a:r>
              <a:rPr lang="it-IT" dirty="0" smtClean="0"/>
              <a:t>Secon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2"/>
            <a:r>
              <a:rPr lang="it-IT" dirty="0" smtClean="0"/>
              <a:t>Third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3"/>
            <a:r>
              <a:rPr lang="it-IT" dirty="0" err="1" smtClean="0"/>
              <a:t>Four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 smtClean="0"/>
          </a:p>
          <a:p>
            <a:pPr lvl="4"/>
            <a:r>
              <a:rPr lang="it-IT" dirty="0" err="1" smtClean="0"/>
              <a:t>Fifth</a:t>
            </a:r>
            <a:r>
              <a:rPr lang="it-IT" dirty="0" smtClean="0"/>
              <a:t> </a:t>
            </a:r>
            <a:r>
              <a:rPr lang="it-IT" dirty="0" err="1" smtClean="0"/>
              <a:t>level</a:t>
            </a:r>
            <a:endParaRPr lang="it-IT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subtitle</a:t>
            </a:r>
            <a:r>
              <a:rPr lang="it-IT" dirty="0" smtClean="0"/>
              <a:t> style </a:t>
            </a:r>
            <a:r>
              <a:rPr lang="it-IT" dirty="0" err="1" smtClean="0"/>
              <a:t>if</a:t>
            </a:r>
            <a:r>
              <a:rPr lang="it-IT" dirty="0" smtClean="0"/>
              <a:t> </a:t>
            </a:r>
            <a:r>
              <a:rPr lang="it-IT" dirty="0" err="1" smtClean="0"/>
              <a:t>required</a:t>
            </a:r>
            <a:endParaRPr lang="it-IT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it-IT" dirty="0" smtClean="0"/>
              <a:t>Optional </a:t>
            </a:r>
            <a:r>
              <a:rPr lang="it-IT" dirty="0" err="1" smtClean="0"/>
              <a:t>summary</a:t>
            </a:r>
            <a:r>
              <a:rPr lang="it-IT" dirty="0" smtClean="0"/>
              <a:t> text </a:t>
            </a:r>
            <a:r>
              <a:rPr lang="it-IT" dirty="0" err="1" smtClean="0"/>
              <a:t>placeholder</a:t>
            </a:r>
            <a:endParaRPr lang="it-IT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7616826" cy="415244"/>
          </a:xfrm>
        </p:spPr>
        <p:txBody>
          <a:bodyPr/>
          <a:lstStyle>
            <a:lvl1pPr>
              <a:defRPr b="0">
                <a:solidFill>
                  <a:schemeClr val="accent3"/>
                </a:solidFill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it-IT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2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vmlDrawing" Target="../drawings/vmlDrawing1.v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Layout" Target="../slideLayouts/slideLayout47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vmlDrawing" Target="../drawings/vmlDrawing10.vml"/><Relationship Id="rId5" Type="http://schemas.openxmlformats.org/officeDocument/2006/relationships/theme" Target="../theme/theme2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3494469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5" name="think-cell Slide" r:id="rId48" imgW="592" imgH="584" progId="TCLayout.ActiveDocument.1">
                  <p:embed/>
                </p:oleObj>
              </mc:Choice>
              <mc:Fallback>
                <p:oleObj name="think-cell Slide" r:id="rId48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 dirty="0" smtClean="0"/>
              <a:t>Click to </a:t>
            </a:r>
            <a:r>
              <a:rPr lang="it-IT" noProof="0" dirty="0" err="1" smtClean="0"/>
              <a:t>edit</a:t>
            </a:r>
            <a:r>
              <a:rPr lang="it-IT" noProof="0" dirty="0" smtClean="0"/>
              <a:t> Master </a:t>
            </a:r>
            <a:r>
              <a:rPr lang="it-IT" noProof="0" dirty="0" err="1" smtClean="0"/>
              <a:t>title</a:t>
            </a:r>
            <a:r>
              <a:rPr lang="it-IT" noProof="0" dirty="0" smtClean="0"/>
              <a:t> style</a:t>
            </a:r>
            <a:endParaRPr lang="it-IT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it-IT" noProof="0" dirty="0" smtClean="0"/>
              <a:t>Click to </a:t>
            </a:r>
            <a:r>
              <a:rPr lang="it-IT" noProof="0" dirty="0" err="1" smtClean="0"/>
              <a:t>edit</a:t>
            </a:r>
            <a:r>
              <a:rPr lang="it-IT" noProof="0" dirty="0" smtClean="0"/>
              <a:t> Master text </a:t>
            </a:r>
            <a:r>
              <a:rPr lang="it-IT" noProof="0" dirty="0" err="1" smtClean="0"/>
              <a:t>styles</a:t>
            </a:r>
            <a:endParaRPr lang="it-IT" noProof="0" dirty="0" smtClean="0"/>
          </a:p>
          <a:p>
            <a:pPr lvl="1"/>
            <a:r>
              <a:rPr lang="it-IT" noProof="0" dirty="0" smtClean="0"/>
              <a:t>Second </a:t>
            </a:r>
            <a:r>
              <a:rPr lang="it-IT" noProof="0" dirty="0" err="1" smtClean="0"/>
              <a:t>level</a:t>
            </a:r>
            <a:endParaRPr lang="it-IT" noProof="0" dirty="0" smtClean="0"/>
          </a:p>
          <a:p>
            <a:pPr lvl="2"/>
            <a:r>
              <a:rPr lang="it-IT" noProof="0" dirty="0" smtClean="0"/>
              <a:t>Third </a:t>
            </a:r>
            <a:r>
              <a:rPr lang="it-IT" noProof="0" dirty="0" err="1" smtClean="0"/>
              <a:t>level</a:t>
            </a:r>
            <a:endParaRPr lang="it-IT" noProof="0" dirty="0" smtClean="0"/>
          </a:p>
          <a:p>
            <a:pPr lvl="3"/>
            <a:r>
              <a:rPr lang="it-IT" noProof="0" dirty="0" err="1" smtClean="0"/>
              <a:t>Fourth</a:t>
            </a:r>
            <a:r>
              <a:rPr lang="it-IT" noProof="0" dirty="0" smtClean="0"/>
              <a:t> </a:t>
            </a:r>
            <a:r>
              <a:rPr lang="it-IT" noProof="0" dirty="0" err="1" smtClean="0"/>
              <a:t>level</a:t>
            </a:r>
            <a:endParaRPr lang="it-IT" noProof="0" dirty="0" smtClean="0"/>
          </a:p>
          <a:p>
            <a:pPr lvl="4"/>
            <a:r>
              <a:rPr lang="it-IT" noProof="0" dirty="0" err="1" smtClean="0"/>
              <a:t>Fifth</a:t>
            </a:r>
            <a:r>
              <a:rPr lang="it-IT" noProof="0" dirty="0" smtClean="0"/>
              <a:t> </a:t>
            </a:r>
            <a:r>
              <a:rPr lang="it-IT" noProof="0" dirty="0" err="1" smtClean="0"/>
              <a:t>level</a:t>
            </a:r>
            <a:endParaRPr lang="it-IT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5" y="6434981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eaLnBrk="1">
              <a:defRPr sz="1000">
                <a:solidFill>
                  <a:schemeClr val="tx2"/>
                </a:solidFill>
              </a:defRPr>
            </a:lvl1pPr>
          </a:lstStyle>
          <a:p>
            <a:endParaRPr lang="it-IT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650" y="704487"/>
            <a:ext cx="2289172" cy="576458"/>
          </a:xfrm>
          <a:prstGeom prst="rect">
            <a:avLst/>
          </a:prstGeom>
        </p:spPr>
      </p:pic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306C60-D8A0-45BA-BEF9-0453FF9E339B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8222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7" r:id="rId2"/>
    <p:sldLayoutId id="2147483738" r:id="rId3"/>
    <p:sldLayoutId id="2147483652" r:id="rId4"/>
    <p:sldLayoutId id="2147483740" r:id="rId5"/>
    <p:sldLayoutId id="2147483739" r:id="rId6"/>
    <p:sldLayoutId id="2147483657" r:id="rId7"/>
    <p:sldLayoutId id="2147483741" r:id="rId8"/>
    <p:sldLayoutId id="2147483742" r:id="rId9"/>
    <p:sldLayoutId id="2147483654" r:id="rId10"/>
    <p:sldLayoutId id="2147483743" r:id="rId11"/>
    <p:sldLayoutId id="2147483744" r:id="rId12"/>
    <p:sldLayoutId id="2147483655" r:id="rId13"/>
    <p:sldLayoutId id="2147483732" r:id="rId14"/>
    <p:sldLayoutId id="2147483730" r:id="rId15"/>
    <p:sldLayoutId id="2147483661" r:id="rId16"/>
    <p:sldLayoutId id="2147483733" r:id="rId17"/>
    <p:sldLayoutId id="2147483731" r:id="rId18"/>
    <p:sldLayoutId id="2147483665" r:id="rId19"/>
    <p:sldLayoutId id="2147483736" r:id="rId20"/>
    <p:sldLayoutId id="2147483735" r:id="rId21"/>
    <p:sldLayoutId id="2147483734" r:id="rId22"/>
    <p:sldLayoutId id="2147483696" r:id="rId23"/>
    <p:sldLayoutId id="2147483747" r:id="rId24"/>
    <p:sldLayoutId id="2147483748" r:id="rId25"/>
    <p:sldLayoutId id="2147483697" r:id="rId26"/>
    <p:sldLayoutId id="2147483658" r:id="rId27"/>
    <p:sldLayoutId id="2147483710" r:id="rId28"/>
    <p:sldLayoutId id="2147483711" r:id="rId29"/>
    <p:sldLayoutId id="2147483728" r:id="rId30"/>
    <p:sldLayoutId id="2147483729" r:id="rId31"/>
    <p:sldLayoutId id="2147483693" r:id="rId32"/>
    <p:sldLayoutId id="2147483723" r:id="rId33"/>
    <p:sldLayoutId id="2147483745" r:id="rId34"/>
    <p:sldLayoutId id="2147483746" r:id="rId35"/>
    <p:sldLayoutId id="2147483691" r:id="rId36"/>
    <p:sldLayoutId id="2147483725" r:id="rId37"/>
    <p:sldLayoutId id="2147483659" r:id="rId38"/>
    <p:sldLayoutId id="2147483760" r:id="rId39"/>
    <p:sldLayoutId id="2147483761" r:id="rId40"/>
    <p:sldLayoutId id="2147483763" r:id="rId41"/>
    <p:sldLayoutId id="2147483764" r:id="rId42"/>
    <p:sldLayoutId id="2147483765" r:id="rId43"/>
    <p:sldLayoutId id="2147483779" r:id="rId4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1920" userDrawn="1">
          <p15:clr>
            <a:srgbClr val="F26B43"/>
          </p15:clr>
        </p15:guide>
        <p15:guide id="5" pos="960" userDrawn="1">
          <p15:clr>
            <a:srgbClr val="F26B43"/>
          </p15:clr>
        </p15:guide>
        <p15:guide id="6" pos="1438" userDrawn="1">
          <p15:clr>
            <a:srgbClr val="F26B43"/>
          </p15:clr>
        </p15:guide>
        <p15:guide id="7" pos="2398" userDrawn="1">
          <p15:clr>
            <a:srgbClr val="F26B43"/>
          </p15:clr>
        </p15:guide>
        <p15:guide id="8" pos="2880" userDrawn="1">
          <p15:clr>
            <a:srgbClr val="F26B43"/>
          </p15:clr>
        </p15:guide>
        <p15:guide id="9" pos="3360" userDrawn="1">
          <p15:clr>
            <a:srgbClr val="F26B43"/>
          </p15:clr>
        </p15:guide>
        <p15:guide id="10" pos="4320" userDrawn="1">
          <p15:clr>
            <a:srgbClr val="F26B43"/>
          </p15:clr>
        </p15:guide>
        <p15:guide id="11" pos="4798" userDrawn="1">
          <p15:clr>
            <a:srgbClr val="F26B43"/>
          </p15:clr>
        </p15:guide>
        <p15:guide id="12" pos="5278" userDrawn="1">
          <p15:clr>
            <a:srgbClr val="F26B43"/>
          </p15:clr>
        </p15:guide>
        <p15:guide id="13" pos="5756" userDrawn="1">
          <p15:clr>
            <a:srgbClr val="F26B43"/>
          </p15:clr>
        </p15:guide>
        <p15:guide id="14" pos="6236" userDrawn="1">
          <p15:clr>
            <a:srgbClr val="F26B43"/>
          </p15:clr>
        </p15:guide>
        <p15:guide id="15" pos="6718" userDrawn="1">
          <p15:clr>
            <a:srgbClr val="F26B43"/>
          </p15:clr>
        </p15:guide>
        <p15:guide id="16" pos="7197" userDrawn="1">
          <p15:clr>
            <a:srgbClr val="F26B43"/>
          </p15:clr>
        </p15:guide>
        <p15:guide id="17" orient="horz" pos="1728" userDrawn="1">
          <p15:clr>
            <a:srgbClr val="F26B43"/>
          </p15:clr>
        </p15:guide>
        <p15:guide id="18" orient="horz" pos="1296" userDrawn="1">
          <p15:clr>
            <a:srgbClr val="F26B43"/>
          </p15:clr>
        </p15:guide>
        <p15:guide id="19" orient="horz" pos="864" userDrawn="1">
          <p15:clr>
            <a:srgbClr val="F26B43"/>
          </p15:clr>
        </p15:guide>
        <p15:guide id="20" orient="horz" pos="434" userDrawn="1">
          <p15:clr>
            <a:srgbClr val="F26B43"/>
          </p15:clr>
        </p15:guide>
        <p15:guide id="21" orient="horz" pos="2590" userDrawn="1">
          <p15:clr>
            <a:srgbClr val="F26B43"/>
          </p15:clr>
        </p15:guide>
        <p15:guide id="22" orient="horz" pos="3022" userDrawn="1">
          <p15:clr>
            <a:srgbClr val="F26B43"/>
          </p15:clr>
        </p15:guide>
        <p15:guide id="23" orient="horz" pos="3454" userDrawn="1">
          <p15:clr>
            <a:srgbClr val="F26B43"/>
          </p15:clr>
        </p15:guide>
        <p15:guide id="24" orient="horz" pos="3884" userDrawn="1">
          <p15:clr>
            <a:srgbClr val="F26B43"/>
          </p15:clr>
        </p15:guide>
        <p15:guide id="25" orient="horz" pos="73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601467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0" y="670122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noProof="0" dirty="0" smtClean="0"/>
              <a:t>Fare clic per modificare lo stile del titolo</a:t>
            </a:r>
            <a:endParaRPr lang="it-IT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2055704"/>
            <a:ext cx="10664825" cy="4110147"/>
          </a:xfrm>
          <a:prstGeom prst="rect">
            <a:avLst/>
          </a:prstGeom>
        </p:spPr>
        <p:txBody>
          <a:bodyPr vert="horz" wrap="square" lIns="0" tIns="0" rIns="135000" bIns="0" rtlCol="0">
            <a:noAutofit/>
          </a:bodyPr>
          <a:lstStyle/>
          <a:p>
            <a:pPr lvl="0"/>
            <a:r>
              <a:rPr lang="it-IT" noProof="0" dirty="0" smtClean="0"/>
              <a:t>Fare clic per modificare stili del testo dello schema</a:t>
            </a:r>
          </a:p>
          <a:p>
            <a:pPr lvl="1"/>
            <a:r>
              <a:rPr lang="it-IT" noProof="0" dirty="0" smtClean="0"/>
              <a:t>Secondo livello</a:t>
            </a:r>
          </a:p>
          <a:p>
            <a:pPr lvl="2"/>
            <a:r>
              <a:rPr lang="it-IT" noProof="0" dirty="0" smtClean="0"/>
              <a:t>Terzo livello</a:t>
            </a:r>
          </a:p>
          <a:p>
            <a:pPr lvl="3"/>
            <a:r>
              <a:rPr lang="it-IT" noProof="0" dirty="0" smtClean="0"/>
              <a:t>Quarto livello</a:t>
            </a:r>
          </a:p>
          <a:p>
            <a:pPr lvl="4"/>
            <a:r>
              <a:rPr lang="it-IT" noProof="0" dirty="0" smtClean="0"/>
              <a:t>Quinto livello</a:t>
            </a:r>
            <a:endParaRPr lang="it-IT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eaLnBrk="1">
              <a:defRPr sz="1067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914377"/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eaLnBrk="1">
              <a:defRPr sz="1067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914377"/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67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defTabSz="914377"/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 defTabSz="914377"/>
              <a:t>‹N›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5" y="688977"/>
            <a:ext cx="196851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/>
          <a:lstStyle/>
          <a:p>
            <a:pPr algn="ctr" defTabSz="914377" eaLnBrk="1"/>
            <a:endParaRPr lang="it-IT" sz="1867" dirty="0">
              <a:solidFill>
                <a:prstClr val="white"/>
              </a:solidFill>
            </a:endParaRPr>
          </a:p>
        </p:txBody>
      </p:sp>
      <p:pic>
        <p:nvPicPr>
          <p:cNvPr id="9" name="Picture 2" descr="\\psf\Home\Desktop\ENELLOGO1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0100485" y="690091"/>
            <a:ext cx="1326339" cy="4805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7165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2" r:id="rId2"/>
    <p:sldLayoutId id="2147483753" r:id="rId3"/>
    <p:sldLayoutId id="2147483754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48" algn="l"/>
        </a:tabLst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285744" indent="-285744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48" algn="l"/>
        </a:tabLst>
        <a:defRPr sz="1867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37" indent="-269868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48" algn="l"/>
        </a:tabLst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541325" indent="-27145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48" algn="l"/>
        </a:tabLst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541325" indent="-271456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26" Type="http://schemas.openxmlformats.org/officeDocument/2006/relationships/tags" Target="../tags/tag132.xml"/><Relationship Id="rId3" Type="http://schemas.openxmlformats.org/officeDocument/2006/relationships/tags" Target="../tags/tag109.xml"/><Relationship Id="rId21" Type="http://schemas.openxmlformats.org/officeDocument/2006/relationships/tags" Target="../tags/tag127.xml"/><Relationship Id="rId34" Type="http://schemas.openxmlformats.org/officeDocument/2006/relationships/image" Target="../media/image143.emf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tags" Target="../tags/tag131.xml"/><Relationship Id="rId33" Type="http://schemas.openxmlformats.org/officeDocument/2006/relationships/oleObject" Target="../embeddings/oleObject22.bin"/><Relationship Id="rId2" Type="http://schemas.openxmlformats.org/officeDocument/2006/relationships/tags" Target="../tags/tag108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29" Type="http://schemas.openxmlformats.org/officeDocument/2006/relationships/slideLayout" Target="../slideLayouts/slideLayout1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24" Type="http://schemas.openxmlformats.org/officeDocument/2006/relationships/tags" Target="../tags/tag130.xml"/><Relationship Id="rId32" Type="http://schemas.openxmlformats.org/officeDocument/2006/relationships/image" Target="../media/image1.emf"/><Relationship Id="rId5" Type="http://schemas.openxmlformats.org/officeDocument/2006/relationships/tags" Target="../tags/tag111.xml"/><Relationship Id="rId15" Type="http://schemas.openxmlformats.org/officeDocument/2006/relationships/tags" Target="../tags/tag121.xml"/><Relationship Id="rId23" Type="http://schemas.openxmlformats.org/officeDocument/2006/relationships/tags" Target="../tags/tag129.xml"/><Relationship Id="rId28" Type="http://schemas.openxmlformats.org/officeDocument/2006/relationships/tags" Target="../tags/tag134.xml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31" Type="http://schemas.openxmlformats.org/officeDocument/2006/relationships/oleObject" Target="../embeddings/oleObject21.bin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tags" Target="../tags/tag120.xml"/><Relationship Id="rId22" Type="http://schemas.openxmlformats.org/officeDocument/2006/relationships/tags" Target="../tags/tag128.xml"/><Relationship Id="rId27" Type="http://schemas.openxmlformats.org/officeDocument/2006/relationships/tags" Target="../tags/tag133.xml"/><Relationship Id="rId30" Type="http://schemas.openxmlformats.org/officeDocument/2006/relationships/notesSlide" Target="../notesSlides/notesSlide10.xml"/><Relationship Id="rId8" Type="http://schemas.openxmlformats.org/officeDocument/2006/relationships/tags" Target="../tags/tag1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4.jpeg"/><Relationship Id="rId2" Type="http://schemas.openxmlformats.org/officeDocument/2006/relationships/tags" Target="../tags/tag1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148.pn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47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150.jpeg"/><Relationship Id="rId2" Type="http://schemas.openxmlformats.org/officeDocument/2006/relationships/tags" Target="../tags/tag1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49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5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7" Type="http://schemas.openxmlformats.org/officeDocument/2006/relationships/image" Target="../media/image15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6.png"/><Relationship Id="rId5" Type="http://schemas.openxmlformats.org/officeDocument/2006/relationships/image" Target="../media/image155.png"/><Relationship Id="rId4" Type="http://schemas.openxmlformats.org/officeDocument/2006/relationships/image" Target="../media/image15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jpe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oleObject" Target="../embeddings/oleObject13.bin"/><Relationship Id="rId21" Type="http://schemas.openxmlformats.org/officeDocument/2006/relationships/tags" Target="../tags/tag32.xml"/><Relationship Id="rId34" Type="http://schemas.openxmlformats.org/officeDocument/2006/relationships/image" Target="../media/image27.png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image" Target="../media/image26.png"/><Relationship Id="rId38" Type="http://schemas.openxmlformats.org/officeDocument/2006/relationships/image" Target="../media/image31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image" Target="../media/image25.png"/><Relationship Id="rId37" Type="http://schemas.openxmlformats.org/officeDocument/2006/relationships/image" Target="../media/image30.png"/><Relationship Id="rId40" Type="http://schemas.openxmlformats.org/officeDocument/2006/relationships/image" Target="../media/image23.emf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notesSlide" Target="../notesSlides/notesSlide3.xml"/><Relationship Id="rId36" Type="http://schemas.openxmlformats.org/officeDocument/2006/relationships/image" Target="../media/image29.png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image" Target="../media/image24.png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slideLayout" Target="../slideLayouts/slideLayout10.xml"/><Relationship Id="rId30" Type="http://schemas.openxmlformats.org/officeDocument/2006/relationships/image" Target="../media/image1.emf"/><Relationship Id="rId35" Type="http://schemas.openxmlformats.org/officeDocument/2006/relationships/image" Target="../media/image28.png"/><Relationship Id="rId8" Type="http://schemas.openxmlformats.org/officeDocument/2006/relationships/tags" Target="../tags/tag19.xml"/><Relationship Id="rId3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oleObject" Target="../embeddings/oleObject15.bin"/><Relationship Id="rId3" Type="http://schemas.openxmlformats.org/officeDocument/2006/relationships/tags" Target="../tags/tag39.xml"/><Relationship Id="rId21" Type="http://schemas.openxmlformats.org/officeDocument/2006/relationships/slideLayout" Target="../slideLayouts/slideLayout40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33.png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image" Target="../media/image35.png"/><Relationship Id="rId1" Type="http://schemas.openxmlformats.org/officeDocument/2006/relationships/vmlDrawing" Target="../drawings/vmlDrawing13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image" Target="../media/image1.emf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oleObject" Target="../embeddings/oleObject14.bin"/><Relationship Id="rId28" Type="http://schemas.openxmlformats.org/officeDocument/2006/relationships/image" Target="../media/image34.jpeg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notesSlide" Target="../notesSlides/notesSlide5.xml"/><Relationship Id="rId27" Type="http://schemas.openxmlformats.org/officeDocument/2006/relationships/image" Target="../media/image32.emf"/><Relationship Id="rId30" Type="http://schemas.openxmlformats.org/officeDocument/2006/relationships/image" Target="../media/image36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9" Type="http://schemas.openxmlformats.org/officeDocument/2006/relationships/tags" Target="../tags/tag94.xml"/><Relationship Id="rId21" Type="http://schemas.openxmlformats.org/officeDocument/2006/relationships/tags" Target="../tags/tag76.xml"/><Relationship Id="rId34" Type="http://schemas.openxmlformats.org/officeDocument/2006/relationships/tags" Target="../tags/tag89.xml"/><Relationship Id="rId42" Type="http://schemas.openxmlformats.org/officeDocument/2006/relationships/tags" Target="../tags/tag97.xml"/><Relationship Id="rId47" Type="http://schemas.openxmlformats.org/officeDocument/2006/relationships/tags" Target="../tags/tag102.xml"/><Relationship Id="rId50" Type="http://schemas.openxmlformats.org/officeDocument/2006/relationships/tags" Target="../tags/tag105.xml"/><Relationship Id="rId55" Type="http://schemas.openxmlformats.org/officeDocument/2006/relationships/oleObject" Target="../embeddings/oleObject17.bin"/><Relationship Id="rId7" Type="http://schemas.openxmlformats.org/officeDocument/2006/relationships/tags" Target="../tags/tag62.xml"/><Relationship Id="rId2" Type="http://schemas.openxmlformats.org/officeDocument/2006/relationships/tags" Target="../tags/tag57.xml"/><Relationship Id="rId16" Type="http://schemas.openxmlformats.org/officeDocument/2006/relationships/tags" Target="../tags/tag71.xml"/><Relationship Id="rId29" Type="http://schemas.openxmlformats.org/officeDocument/2006/relationships/tags" Target="../tags/tag84.xml"/><Relationship Id="rId11" Type="http://schemas.openxmlformats.org/officeDocument/2006/relationships/tags" Target="../tags/tag66.xml"/><Relationship Id="rId24" Type="http://schemas.openxmlformats.org/officeDocument/2006/relationships/tags" Target="../tags/tag79.xml"/><Relationship Id="rId32" Type="http://schemas.openxmlformats.org/officeDocument/2006/relationships/tags" Target="../tags/tag87.xml"/><Relationship Id="rId37" Type="http://schemas.openxmlformats.org/officeDocument/2006/relationships/tags" Target="../tags/tag92.xml"/><Relationship Id="rId40" Type="http://schemas.openxmlformats.org/officeDocument/2006/relationships/tags" Target="../tags/tag95.xml"/><Relationship Id="rId45" Type="http://schemas.openxmlformats.org/officeDocument/2006/relationships/tags" Target="../tags/tag100.xml"/><Relationship Id="rId53" Type="http://schemas.openxmlformats.org/officeDocument/2006/relationships/oleObject" Target="../embeddings/oleObject16.bin"/><Relationship Id="rId58" Type="http://schemas.openxmlformats.org/officeDocument/2006/relationships/image" Target="../media/image38.emf"/><Relationship Id="rId5" Type="http://schemas.openxmlformats.org/officeDocument/2006/relationships/tags" Target="../tags/tag60.xml"/><Relationship Id="rId19" Type="http://schemas.openxmlformats.org/officeDocument/2006/relationships/tags" Target="../tags/tag74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Relationship Id="rId35" Type="http://schemas.openxmlformats.org/officeDocument/2006/relationships/tags" Target="../tags/tag90.xml"/><Relationship Id="rId43" Type="http://schemas.openxmlformats.org/officeDocument/2006/relationships/tags" Target="../tags/tag98.xml"/><Relationship Id="rId48" Type="http://schemas.openxmlformats.org/officeDocument/2006/relationships/tags" Target="../tags/tag103.xml"/><Relationship Id="rId56" Type="http://schemas.openxmlformats.org/officeDocument/2006/relationships/image" Target="../media/image37.emf"/><Relationship Id="rId8" Type="http://schemas.openxmlformats.org/officeDocument/2006/relationships/tags" Target="../tags/tag63.xml"/><Relationship Id="rId51" Type="http://schemas.openxmlformats.org/officeDocument/2006/relationships/slideLayout" Target="../slideLayouts/slideLayout40.xml"/><Relationship Id="rId3" Type="http://schemas.openxmlformats.org/officeDocument/2006/relationships/tags" Target="../tags/tag58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33" Type="http://schemas.openxmlformats.org/officeDocument/2006/relationships/tags" Target="../tags/tag88.xml"/><Relationship Id="rId38" Type="http://schemas.openxmlformats.org/officeDocument/2006/relationships/tags" Target="../tags/tag93.xml"/><Relationship Id="rId46" Type="http://schemas.openxmlformats.org/officeDocument/2006/relationships/tags" Target="../tags/tag101.xml"/><Relationship Id="rId20" Type="http://schemas.openxmlformats.org/officeDocument/2006/relationships/tags" Target="../tags/tag75.xml"/><Relationship Id="rId41" Type="http://schemas.openxmlformats.org/officeDocument/2006/relationships/tags" Target="../tags/tag96.xml"/><Relationship Id="rId54" Type="http://schemas.openxmlformats.org/officeDocument/2006/relationships/image" Target="../media/image1.emf"/><Relationship Id="rId1" Type="http://schemas.openxmlformats.org/officeDocument/2006/relationships/vmlDrawing" Target="../drawings/vmlDrawing14.vml"/><Relationship Id="rId6" Type="http://schemas.openxmlformats.org/officeDocument/2006/relationships/tags" Target="../tags/tag61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36" Type="http://schemas.openxmlformats.org/officeDocument/2006/relationships/tags" Target="../tags/tag91.xml"/><Relationship Id="rId49" Type="http://schemas.openxmlformats.org/officeDocument/2006/relationships/tags" Target="../tags/tag104.xml"/><Relationship Id="rId57" Type="http://schemas.openxmlformats.org/officeDocument/2006/relationships/oleObject" Target="../embeddings/oleObject18.bin"/><Relationship Id="rId10" Type="http://schemas.openxmlformats.org/officeDocument/2006/relationships/tags" Target="../tags/tag65.xml"/><Relationship Id="rId31" Type="http://schemas.openxmlformats.org/officeDocument/2006/relationships/tags" Target="../tags/tag86.xml"/><Relationship Id="rId44" Type="http://schemas.openxmlformats.org/officeDocument/2006/relationships/tags" Target="../tags/tag99.xml"/><Relationship Id="rId5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8.png"/><Relationship Id="rId21" Type="http://schemas.openxmlformats.org/officeDocument/2006/relationships/image" Target="../media/image53.png"/><Relationship Id="rId42" Type="http://schemas.openxmlformats.org/officeDocument/2006/relationships/image" Target="../media/image74.png"/><Relationship Id="rId47" Type="http://schemas.openxmlformats.org/officeDocument/2006/relationships/image" Target="../media/image79.png"/><Relationship Id="rId63" Type="http://schemas.openxmlformats.org/officeDocument/2006/relationships/image" Target="../media/image95.png"/><Relationship Id="rId68" Type="http://schemas.openxmlformats.org/officeDocument/2006/relationships/image" Target="../media/image100.png"/><Relationship Id="rId84" Type="http://schemas.openxmlformats.org/officeDocument/2006/relationships/image" Target="../media/image116.png"/><Relationship Id="rId89" Type="http://schemas.openxmlformats.org/officeDocument/2006/relationships/image" Target="../media/image121.png"/><Relationship Id="rId16" Type="http://schemas.openxmlformats.org/officeDocument/2006/relationships/image" Target="../media/image48.tiff"/><Relationship Id="rId11" Type="http://schemas.openxmlformats.org/officeDocument/2006/relationships/image" Target="../media/image43.png"/><Relationship Id="rId32" Type="http://schemas.openxmlformats.org/officeDocument/2006/relationships/image" Target="../media/image64.png"/><Relationship Id="rId37" Type="http://schemas.openxmlformats.org/officeDocument/2006/relationships/image" Target="../media/image69.png"/><Relationship Id="rId53" Type="http://schemas.openxmlformats.org/officeDocument/2006/relationships/image" Target="../media/image85.png"/><Relationship Id="rId58" Type="http://schemas.openxmlformats.org/officeDocument/2006/relationships/image" Target="../media/image90.png"/><Relationship Id="rId74" Type="http://schemas.openxmlformats.org/officeDocument/2006/relationships/image" Target="../media/image106.png"/><Relationship Id="rId79" Type="http://schemas.openxmlformats.org/officeDocument/2006/relationships/image" Target="../media/image111.png"/><Relationship Id="rId5" Type="http://schemas.openxmlformats.org/officeDocument/2006/relationships/oleObject" Target="../embeddings/oleObject19.bin"/><Relationship Id="rId90" Type="http://schemas.openxmlformats.org/officeDocument/2006/relationships/image" Target="../media/image122.png"/><Relationship Id="rId95" Type="http://schemas.openxmlformats.org/officeDocument/2006/relationships/image" Target="../media/image127.png"/><Relationship Id="rId22" Type="http://schemas.openxmlformats.org/officeDocument/2006/relationships/image" Target="../media/image54.png"/><Relationship Id="rId27" Type="http://schemas.openxmlformats.org/officeDocument/2006/relationships/image" Target="../media/image59.png"/><Relationship Id="rId43" Type="http://schemas.openxmlformats.org/officeDocument/2006/relationships/image" Target="../media/image75.png"/><Relationship Id="rId48" Type="http://schemas.openxmlformats.org/officeDocument/2006/relationships/image" Target="../media/image80.png"/><Relationship Id="rId64" Type="http://schemas.openxmlformats.org/officeDocument/2006/relationships/image" Target="../media/image96.png"/><Relationship Id="rId69" Type="http://schemas.openxmlformats.org/officeDocument/2006/relationships/image" Target="../media/image101.png"/><Relationship Id="rId80" Type="http://schemas.openxmlformats.org/officeDocument/2006/relationships/image" Target="../media/image112.png"/><Relationship Id="rId85" Type="http://schemas.openxmlformats.org/officeDocument/2006/relationships/image" Target="../media/image117.png"/><Relationship Id="rId3" Type="http://schemas.openxmlformats.org/officeDocument/2006/relationships/slideLayout" Target="../slideLayouts/slideLayout10.xml"/><Relationship Id="rId12" Type="http://schemas.openxmlformats.org/officeDocument/2006/relationships/image" Target="../media/image44.png"/><Relationship Id="rId17" Type="http://schemas.openxmlformats.org/officeDocument/2006/relationships/image" Target="../media/image49.png"/><Relationship Id="rId25" Type="http://schemas.openxmlformats.org/officeDocument/2006/relationships/image" Target="../media/image57.png"/><Relationship Id="rId33" Type="http://schemas.openxmlformats.org/officeDocument/2006/relationships/image" Target="../media/image65.png"/><Relationship Id="rId38" Type="http://schemas.openxmlformats.org/officeDocument/2006/relationships/image" Target="../media/image70.png"/><Relationship Id="rId46" Type="http://schemas.openxmlformats.org/officeDocument/2006/relationships/image" Target="../media/image78.png"/><Relationship Id="rId59" Type="http://schemas.openxmlformats.org/officeDocument/2006/relationships/image" Target="../media/image91.jpeg"/><Relationship Id="rId67" Type="http://schemas.openxmlformats.org/officeDocument/2006/relationships/image" Target="../media/image99.png"/><Relationship Id="rId20" Type="http://schemas.openxmlformats.org/officeDocument/2006/relationships/image" Target="../media/image52.png"/><Relationship Id="rId41" Type="http://schemas.openxmlformats.org/officeDocument/2006/relationships/image" Target="../media/image73.png"/><Relationship Id="rId54" Type="http://schemas.openxmlformats.org/officeDocument/2006/relationships/image" Target="../media/image86.png"/><Relationship Id="rId62" Type="http://schemas.openxmlformats.org/officeDocument/2006/relationships/image" Target="../media/image94.png"/><Relationship Id="rId70" Type="http://schemas.openxmlformats.org/officeDocument/2006/relationships/image" Target="../media/image102.png"/><Relationship Id="rId75" Type="http://schemas.openxmlformats.org/officeDocument/2006/relationships/image" Target="../media/image107.png"/><Relationship Id="rId83" Type="http://schemas.openxmlformats.org/officeDocument/2006/relationships/image" Target="../media/image115.png"/><Relationship Id="rId88" Type="http://schemas.openxmlformats.org/officeDocument/2006/relationships/image" Target="../media/image120.png"/><Relationship Id="rId91" Type="http://schemas.openxmlformats.org/officeDocument/2006/relationships/image" Target="../media/image123.png"/><Relationship Id="rId96" Type="http://schemas.openxmlformats.org/officeDocument/2006/relationships/image" Target="../media/image128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28" Type="http://schemas.openxmlformats.org/officeDocument/2006/relationships/image" Target="../media/image60.png"/><Relationship Id="rId36" Type="http://schemas.openxmlformats.org/officeDocument/2006/relationships/image" Target="../media/image68.png"/><Relationship Id="rId49" Type="http://schemas.openxmlformats.org/officeDocument/2006/relationships/image" Target="../media/image81.png"/><Relationship Id="rId57" Type="http://schemas.openxmlformats.org/officeDocument/2006/relationships/image" Target="../media/image89.emf"/><Relationship Id="rId10" Type="http://schemas.openxmlformats.org/officeDocument/2006/relationships/image" Target="../media/image42.png"/><Relationship Id="rId31" Type="http://schemas.openxmlformats.org/officeDocument/2006/relationships/image" Target="../media/image63.png"/><Relationship Id="rId44" Type="http://schemas.openxmlformats.org/officeDocument/2006/relationships/image" Target="../media/image76.png"/><Relationship Id="rId52" Type="http://schemas.openxmlformats.org/officeDocument/2006/relationships/image" Target="../media/image84.png"/><Relationship Id="rId60" Type="http://schemas.openxmlformats.org/officeDocument/2006/relationships/image" Target="../media/image92.png"/><Relationship Id="rId65" Type="http://schemas.openxmlformats.org/officeDocument/2006/relationships/image" Target="../media/image97.png"/><Relationship Id="rId73" Type="http://schemas.openxmlformats.org/officeDocument/2006/relationships/image" Target="../media/image105.png"/><Relationship Id="rId78" Type="http://schemas.openxmlformats.org/officeDocument/2006/relationships/image" Target="../media/image110.png"/><Relationship Id="rId81" Type="http://schemas.openxmlformats.org/officeDocument/2006/relationships/image" Target="../media/image113.png"/><Relationship Id="rId86" Type="http://schemas.openxmlformats.org/officeDocument/2006/relationships/image" Target="../media/image118.png"/><Relationship Id="rId94" Type="http://schemas.openxmlformats.org/officeDocument/2006/relationships/image" Target="../media/image126.png"/><Relationship Id="rId99" Type="http://schemas.openxmlformats.org/officeDocument/2006/relationships/image" Target="../media/image131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1.png"/><Relationship Id="rId13" Type="http://schemas.openxmlformats.org/officeDocument/2006/relationships/image" Target="../media/image45.png"/><Relationship Id="rId18" Type="http://schemas.openxmlformats.org/officeDocument/2006/relationships/image" Target="../media/image50.png"/><Relationship Id="rId39" Type="http://schemas.openxmlformats.org/officeDocument/2006/relationships/image" Target="../media/image71.png"/><Relationship Id="rId34" Type="http://schemas.openxmlformats.org/officeDocument/2006/relationships/image" Target="../media/image66.png"/><Relationship Id="rId50" Type="http://schemas.openxmlformats.org/officeDocument/2006/relationships/image" Target="../media/image82.png"/><Relationship Id="rId55" Type="http://schemas.openxmlformats.org/officeDocument/2006/relationships/image" Target="../media/image87.png"/><Relationship Id="rId76" Type="http://schemas.openxmlformats.org/officeDocument/2006/relationships/image" Target="../media/image108.png"/><Relationship Id="rId97" Type="http://schemas.openxmlformats.org/officeDocument/2006/relationships/image" Target="../media/image129.png"/><Relationship Id="rId7" Type="http://schemas.openxmlformats.org/officeDocument/2006/relationships/image" Target="../media/image39.emf"/><Relationship Id="rId71" Type="http://schemas.openxmlformats.org/officeDocument/2006/relationships/image" Target="../media/image103.png"/><Relationship Id="rId92" Type="http://schemas.openxmlformats.org/officeDocument/2006/relationships/image" Target="../media/image124.png"/><Relationship Id="rId2" Type="http://schemas.openxmlformats.org/officeDocument/2006/relationships/tags" Target="../tags/tag106.xml"/><Relationship Id="rId29" Type="http://schemas.openxmlformats.org/officeDocument/2006/relationships/image" Target="../media/image61.png"/><Relationship Id="rId24" Type="http://schemas.openxmlformats.org/officeDocument/2006/relationships/image" Target="../media/image56.png"/><Relationship Id="rId40" Type="http://schemas.openxmlformats.org/officeDocument/2006/relationships/image" Target="../media/image72.png"/><Relationship Id="rId45" Type="http://schemas.openxmlformats.org/officeDocument/2006/relationships/image" Target="../media/image77.png"/><Relationship Id="rId66" Type="http://schemas.openxmlformats.org/officeDocument/2006/relationships/image" Target="../media/image98.png"/><Relationship Id="rId87" Type="http://schemas.openxmlformats.org/officeDocument/2006/relationships/image" Target="../media/image119.png"/><Relationship Id="rId61" Type="http://schemas.openxmlformats.org/officeDocument/2006/relationships/image" Target="../media/image93.png"/><Relationship Id="rId82" Type="http://schemas.openxmlformats.org/officeDocument/2006/relationships/image" Target="../media/image114.png"/><Relationship Id="rId19" Type="http://schemas.openxmlformats.org/officeDocument/2006/relationships/image" Target="../media/image51.png"/><Relationship Id="rId14" Type="http://schemas.openxmlformats.org/officeDocument/2006/relationships/image" Target="../media/image46.png"/><Relationship Id="rId30" Type="http://schemas.openxmlformats.org/officeDocument/2006/relationships/image" Target="../media/image62.png"/><Relationship Id="rId35" Type="http://schemas.openxmlformats.org/officeDocument/2006/relationships/image" Target="../media/image67.png"/><Relationship Id="rId56" Type="http://schemas.openxmlformats.org/officeDocument/2006/relationships/image" Target="../media/image88.png"/><Relationship Id="rId77" Type="http://schemas.openxmlformats.org/officeDocument/2006/relationships/image" Target="../media/image109.png"/><Relationship Id="rId100" Type="http://schemas.openxmlformats.org/officeDocument/2006/relationships/image" Target="../media/image132.jpeg"/><Relationship Id="rId8" Type="http://schemas.openxmlformats.org/officeDocument/2006/relationships/image" Target="../media/image40.png"/><Relationship Id="rId51" Type="http://schemas.openxmlformats.org/officeDocument/2006/relationships/image" Target="../media/image83.png"/><Relationship Id="rId72" Type="http://schemas.openxmlformats.org/officeDocument/2006/relationships/image" Target="../media/image104.png"/><Relationship Id="rId93" Type="http://schemas.openxmlformats.org/officeDocument/2006/relationships/image" Target="../media/image125.png"/><Relationship Id="rId98" Type="http://schemas.openxmlformats.org/officeDocument/2006/relationships/image" Target="../media/image1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png"/><Relationship Id="rId13" Type="http://schemas.openxmlformats.org/officeDocument/2006/relationships/image" Target="../media/image140.png"/><Relationship Id="rId3" Type="http://schemas.openxmlformats.org/officeDocument/2006/relationships/slideLayout" Target="../slideLayouts/slideLayout42.xml"/><Relationship Id="rId7" Type="http://schemas.openxmlformats.org/officeDocument/2006/relationships/image" Target="../media/image134.png"/><Relationship Id="rId12" Type="http://schemas.openxmlformats.org/officeDocument/2006/relationships/image" Target="../media/image139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2.emf"/><Relationship Id="rId11" Type="http://schemas.openxmlformats.org/officeDocument/2006/relationships/image" Target="../media/image138.png"/><Relationship Id="rId5" Type="http://schemas.openxmlformats.org/officeDocument/2006/relationships/oleObject" Target="../embeddings/oleObject20.bin"/><Relationship Id="rId15" Type="http://schemas.openxmlformats.org/officeDocument/2006/relationships/image" Target="../media/image142.png"/><Relationship Id="rId10" Type="http://schemas.openxmlformats.org/officeDocument/2006/relationships/image" Target="../media/image137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36.png"/><Relationship Id="rId14" Type="http://schemas.openxmlformats.org/officeDocument/2006/relationships/image" Target="../media/image1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b="1" dirty="0" smtClean="0"/>
              <a:t>Enel X</a:t>
            </a:r>
            <a:br>
              <a:rPr lang="it-IT" b="1" dirty="0" smtClean="0"/>
            </a:br>
            <a:r>
              <a:rPr lang="it-IT" sz="4000" dirty="0" smtClean="0"/>
              <a:t>e-</a:t>
            </a:r>
            <a:r>
              <a:rPr lang="it-IT" sz="4000" dirty="0" err="1" smtClean="0"/>
              <a:t>Mobility</a:t>
            </a:r>
            <a:endParaRPr lang="it-IT" sz="4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Intervento A. Pigli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32400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894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4" name="think-cell Slide" r:id="rId31" imgW="592" imgH="584" progId="TCLayout.ActiveDocument.1">
                  <p:embed/>
                </p:oleObj>
              </mc:Choice>
              <mc:Fallback>
                <p:oleObj name="think-cell Slide" r:id="rId31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1300" b="1" dirty="0" err="1" smtClean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087584" y="2001011"/>
            <a:ext cx="6052318" cy="922372"/>
          </a:xfrm>
          <a:prstGeom prst="rect">
            <a:avLst/>
          </a:prstGeom>
          <a:solidFill>
            <a:schemeClr val="bg1"/>
          </a:solidFill>
          <a:ln w="44450">
            <a:gradFill flip="none" rotWithShape="1">
              <a:gsLst>
                <a:gs pos="76000">
                  <a:schemeClr val="accent1"/>
                </a:gs>
                <a:gs pos="33000">
                  <a:schemeClr val="accent6"/>
                </a:gs>
                <a:gs pos="0">
                  <a:schemeClr val="bg1">
                    <a:alpha val="0"/>
                  </a:schemeClr>
                </a:gs>
              </a:gsLst>
              <a:lin ang="4200000" scaled="0"/>
              <a:tileRect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it-IT" sz="1600" b="1" dirty="0" smtClean="0">
                <a:solidFill>
                  <a:schemeClr val="accent1"/>
                </a:solidFill>
              </a:rPr>
              <a:t>2018: Accordi con 30 comuni e oltre 10 clienti private per l’installazione di oltre 720 stazioni di ricarica (di cui 50 fast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1999" y="670120"/>
            <a:ext cx="8170333" cy="415245"/>
          </a:xfrm>
        </p:spPr>
        <p:txBody>
          <a:bodyPr/>
          <a:lstStyle/>
          <a:p>
            <a:r>
              <a:rPr lang="it-IT" b="1" dirty="0" smtClean="0"/>
              <a:t>Installeremo fino a 14.000 stazioni di ricarica pubbliche entro il 2022</a:t>
            </a:r>
            <a:endParaRPr lang="it-IT" b="1" dirty="0"/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83102440"/>
              </p:ext>
            </p:extLst>
          </p:nvPr>
        </p:nvGraphicFramePr>
        <p:xfrm>
          <a:off x="3124200" y="1981200"/>
          <a:ext cx="7677409" cy="36098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5" name="Chart" r:id="rId33" imgW="7677409" imgH="3609802" progId="MSGraph.Chart.8">
                  <p:embed followColorScheme="full"/>
                </p:oleObj>
              </mc:Choice>
              <mc:Fallback>
                <p:oleObj name="Chart" r:id="rId33" imgW="7677409" imgH="3609802" progId="MSGraph.Chart.8">
                  <p:embed followColorScheme="full"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3124200" y="1981200"/>
                        <a:ext cx="7677409" cy="36098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729788" y="5000625"/>
            <a:ext cx="430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5A6C31-350B-4AE0-94E3-1A8A871A9521}" type="datetime'3'''''''''''''''''''''''''''''''''''',00''0'''''">
              <a:rPr lang="it-IT" altLang="en-US" sz="1200">
                <a:solidFill>
                  <a:schemeClr val="bg1"/>
                </a:solidFill>
              </a:rPr>
              <a:pPr/>
              <a:t>3,0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693275" y="3324225"/>
            <a:ext cx="503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2783812-31E6-4CBE-A547-BE2689B593CF}" type="datetime'''''''1''''''''1,''''''00''0'''''''''''''''''''">
              <a:rPr lang="it-IT" altLang="en-US" sz="1200">
                <a:solidFill>
                  <a:schemeClr val="bg1"/>
                </a:solidFill>
              </a:rPr>
              <a:pPr/>
              <a:t>11,0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691688" y="1871663"/>
            <a:ext cx="50641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86AFA6B-6C94-4EDE-BEDA-EC9907E5FAEA}" type="datetime'''1''''''''''''4'''''',0''''''0''''''''''''''''0'''''''''">
              <a:rPr lang="it-IT" altLang="en-US" sz="1300" b="1"/>
              <a:pPr/>
              <a:t>14,000</a:t>
            </a:fld>
            <a:endParaRPr lang="it-IT" sz="1300" b="1" noProof="0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283575" y="5656263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99D9D5-6641-4B78-87E4-C1C7DA314FB1}" type="datetime'''''''''20''''''''''''''''2''''''''''''''''''''''''''''1'''">
              <a:rPr lang="it-IT" altLang="en-US" sz="1200"/>
              <a:pPr/>
              <a:t>2021</a:t>
            </a:fld>
            <a:endParaRPr lang="it-IT" sz="1200" noProof="0" dirty="0"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769475" y="5656263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D721A69-7ED8-43B0-9D24-EA007C9FD532}" type="datetime'''''''2''0''2''''''''''''''''2'''''''">
              <a:rPr lang="it-IT" altLang="en-US" sz="1200"/>
              <a:pPr/>
              <a:t>2022</a:t>
            </a:fld>
            <a:endParaRPr lang="it-IT" sz="1200" noProof="0" dirty="0">
              <a:sym typeface="+mn-lt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205788" y="2709863"/>
            <a:ext cx="50641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45E915E-9169-40CC-A935-D0C490F1902E}" type="datetime'''''''''1''0'''''''''',''''''5''''''''''0''''0'''''''''''''">
              <a:rPr lang="it-IT" altLang="en-US" sz="1300" b="1"/>
              <a:pPr/>
              <a:t>10,500</a:t>
            </a:fld>
            <a:endParaRPr lang="it-IT" sz="1300" b="1" noProof="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302250" y="5656263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C1F27B5-C50A-4BE6-BB13-F6D1CFE4E796}" type="datetime'''''''2''0''1''9'''''''''''''''''''''''''''">
              <a:rPr lang="it-IT" altLang="en-US" sz="1200"/>
              <a:pPr/>
              <a:t>2019</a:t>
            </a:fld>
            <a:endParaRPr lang="it-IT" sz="1200" noProof="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270500" y="4024313"/>
            <a:ext cx="414338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B759CD-B726-4F05-B04C-4F1178F3F845}" type="datetime'''''''''5'''''',0''''''''''''''''''''''''0''''''''''''''''''0'">
              <a:rPr lang="it-IT" altLang="en-US" sz="1300" b="1"/>
              <a:pPr/>
              <a:t>5,000</a:t>
            </a:fld>
            <a:endParaRPr lang="it-IT" sz="1300" b="1" noProof="0" dirty="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784600" y="4576763"/>
            <a:ext cx="414338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5F21E0B-7A92-45B1-9354-D9FE53A34577}" type="datetime'''''''''2'''''''''''''',''''''''''7''''''''''00'''''''">
              <a:rPr lang="it-IT" altLang="en-US" sz="1300" b="1"/>
              <a:pPr/>
              <a:t>2,700</a:t>
            </a:fld>
            <a:endParaRPr lang="it-IT" sz="1300" b="1" noProof="0" dirty="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40163" y="5334000"/>
            <a:ext cx="303213" cy="182563"/>
          </a:xfrm>
          <a:prstGeom prst="rect">
            <a:avLst/>
          </a:prstGeom>
          <a:solidFill>
            <a:srgbClr val="865AA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A968C7-A573-49C4-B097-CA0F83AA85DA}" type="datetime'''''''''''''''''2''''''''''''''00'''''''''''''''''''''''">
              <a:rPr lang="it-IT" altLang="en-US" sz="1200">
                <a:solidFill>
                  <a:schemeClr val="bg1"/>
                </a:solidFill>
              </a:rPr>
              <a:pPr/>
              <a:t>2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243888" y="5119688"/>
            <a:ext cx="430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39FBB00-8B95-465A-85FF-8C3AB1153C6B}" type="datetime'''''''''2,''''''''''''''''''''''0''''''''00'''''">
              <a:rPr lang="it-IT" altLang="en-US" sz="1200">
                <a:solidFill>
                  <a:schemeClr val="bg1"/>
                </a:solidFill>
              </a:rPr>
              <a:pPr/>
              <a:t>2,0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761163" y="3548063"/>
            <a:ext cx="414338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253BFA-AD9D-4648-8EBC-480A4DC02CFA}" type="datetime'7'',0''''0''''''''0'''">
              <a:rPr lang="it-IT" altLang="en-US" sz="1300" b="1"/>
              <a:pPr/>
              <a:t>7,000</a:t>
            </a:fld>
            <a:endParaRPr lang="it-IT" sz="1300" b="1" noProof="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792913" y="5656263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15C54BE-B5FF-4D0D-83C4-6D7F5025DEA4}" type="datetime'''''''''''''''''''2''''0''''''''''2''''''''0'''''">
              <a:rPr lang="it-IT" altLang="en-US" sz="1200"/>
              <a:pPr/>
              <a:t>2020</a:t>
            </a:fld>
            <a:endParaRPr lang="it-IT" sz="1200" noProof="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243888" y="3862388"/>
            <a:ext cx="430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65B2BF-F03B-4058-A4F3-11372A6D47D9}" type="datetime'''8'''''''',''5''''0''''''''''''''''''''''''0'''''''''''''''">
              <a:rPr lang="it-IT" altLang="en-US" sz="1200">
                <a:solidFill>
                  <a:schemeClr val="bg1"/>
                </a:solidFill>
              </a:rPr>
              <a:pPr/>
              <a:t>8,5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326063" y="5295900"/>
            <a:ext cx="303213" cy="182563"/>
          </a:xfrm>
          <a:prstGeom prst="rect">
            <a:avLst/>
          </a:prstGeom>
          <a:solidFill>
            <a:srgbClr val="865AA3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8D5B94-C8A5-4679-B62F-A557D7D6BB42}" type="datetime'''''''''''''''''''5''''''''''''''0''''''''''''''''''''''''0'">
              <a:rPr lang="it-IT" altLang="en-US" sz="1200">
                <a:solidFill>
                  <a:schemeClr val="bg1"/>
                </a:solidFill>
              </a:rPr>
              <a:pPr/>
              <a:t>5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753225" y="5238750"/>
            <a:ext cx="430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A59622-31E8-4F88-A1C8-9E0FE766C2F8}" type="datetime'''''1'''''''''''''',''''''''00''''''''''''''0'''''''''''''''''">
              <a:rPr lang="it-IT" altLang="en-US" sz="1200">
                <a:solidFill>
                  <a:schemeClr val="bg1"/>
                </a:solidFill>
              </a:rPr>
              <a:pPr/>
              <a:t>1,0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262563" y="4695825"/>
            <a:ext cx="430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3E0A50D-8452-4643-9E2C-3E4DACD17E47}" type="datetime'''''4'''''',''''''''5''''0''''''''''''''0'''''''">
              <a:rPr lang="it-IT" altLang="en-US" sz="1200">
                <a:solidFill>
                  <a:schemeClr val="bg1"/>
                </a:solidFill>
              </a:rPr>
              <a:pPr/>
              <a:t>4,5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816350" y="5656263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91D7D1B-967A-44F0-96BC-9655949D2D21}" type="datetime'''''''''''''''''''''2''''''''''''''0''''18'''''''''''''''''''">
              <a:rPr lang="it-IT" altLang="en-US" sz="1200"/>
              <a:pPr/>
              <a:t>2018</a:t>
            </a:fld>
            <a:endParaRPr lang="it-IT" sz="1200" noProof="0" dirty="0"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753225" y="4400550"/>
            <a:ext cx="430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B499B1B-3232-4A3F-B864-D5C07BBD7EC4}" type="datetime'''''''''''''''''''6'''',''0''0''''''''0'''''''''''''''''''''">
              <a:rPr lang="it-IT" altLang="en-US" sz="1200">
                <a:solidFill>
                  <a:schemeClr val="bg1"/>
                </a:solidFill>
              </a:rPr>
              <a:pPr/>
              <a:t>6,0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776663" y="5010150"/>
            <a:ext cx="430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0BC1785-2B11-4223-932A-B505847E749F}" type="datetime'''2'',5''0''''''''''''''''''0'''''''''''''''''''''''''''''">
              <a:rPr lang="it-IT" altLang="en-US" sz="1200">
                <a:solidFill>
                  <a:schemeClr val="bg1"/>
                </a:solidFill>
              </a:rPr>
              <a:pPr/>
              <a:t>2,500</a:t>
            </a:fld>
            <a:endParaRPr lang="it-IT" sz="1200" noProof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7" name="Rectangle 26"/>
          <p:cNvSpPr/>
          <p:nvPr>
            <p:custDataLst>
              <p:tags r:id="rId25"/>
            </p:custDataLst>
          </p:nvPr>
        </p:nvSpPr>
        <p:spPr bwMode="auto">
          <a:xfrm>
            <a:off x="5435600" y="5965825"/>
            <a:ext cx="179388" cy="133350"/>
          </a:xfrm>
          <a:prstGeom prst="rect">
            <a:avLst/>
          </a:prstGeom>
          <a:solidFill>
            <a:srgbClr val="1A95C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 smtClean="0"/>
          </a:p>
        </p:txBody>
      </p:sp>
      <p:sp>
        <p:nvSpPr>
          <p:cNvPr id="26" name="Rectangle 25"/>
          <p:cNvSpPr/>
          <p:nvPr>
            <p:custDataLst>
              <p:tags r:id="rId26"/>
            </p:custDataLst>
          </p:nvPr>
        </p:nvSpPr>
        <p:spPr bwMode="auto">
          <a:xfrm>
            <a:off x="6575425" y="5965825"/>
            <a:ext cx="179388" cy="133350"/>
          </a:xfrm>
          <a:prstGeom prst="rect">
            <a:avLst/>
          </a:prstGeom>
          <a:solidFill>
            <a:srgbClr val="865AA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err="1" smtClean="0"/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665788" y="5961063"/>
            <a:ext cx="8080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5955E4A-796B-44F3-819B-132F24D7E08E}" type="datetime'''''''St''''''a''''z''''i''''''''''''''o''ni'''''''' ''Quick'">
              <a:rPr lang="it-IT" altLang="en-US" sz="1000"/>
              <a:pPr/>
              <a:t>Stazioni Quick</a:t>
            </a:fld>
            <a:endParaRPr lang="it-IT" sz="1000" noProof="0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805613" y="5961063"/>
            <a:ext cx="1349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D5106AC-EA7D-4E5C-810B-279A4813CAEE}" type="datetime'Stazio''n''''i F''ast''/ ''U''''''''l''t''''''r''a'' Fa''st'">
              <a:rPr lang="it-IT" altLang="en-US" sz="1000"/>
              <a:pPr/>
              <a:t>Stazioni Fast/ Ultra Fast</a:t>
            </a:fld>
            <a:endParaRPr lang="it-IT" sz="1000" noProof="0" dirty="0">
              <a:sym typeface="+mn-lt"/>
            </a:endParaRPr>
          </a:p>
        </p:txBody>
      </p:sp>
      <p:grpSp>
        <p:nvGrpSpPr>
          <p:cNvPr id="61" name="Group 60"/>
          <p:cNvGrpSpPr/>
          <p:nvPr/>
        </p:nvGrpSpPr>
        <p:grpSpPr>
          <a:xfrm>
            <a:off x="103470" y="110701"/>
            <a:ext cx="604611" cy="401017"/>
            <a:chOff x="4180114" y="89807"/>
            <a:chExt cx="604611" cy="401017"/>
          </a:xfrm>
        </p:grpSpPr>
        <p:sp>
          <p:nvSpPr>
            <p:cNvPr id="62" name="Rectangle 61"/>
            <p:cNvSpPr/>
            <p:nvPr/>
          </p:nvSpPr>
          <p:spPr>
            <a:xfrm>
              <a:off x="4180114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4498975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180114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498975" y="311210"/>
              <a:ext cx="285750" cy="1796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4535066" y="327538"/>
              <a:ext cx="18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038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6" name="think-cell Slide" r:id="rId5" imgW="592" imgH="584" progId="TCLayout.ActiveDocument.1">
                  <p:embed/>
                </p:oleObj>
              </mc:Choice>
              <mc:Fallback>
                <p:oleObj name="think-cell Slide" r:id="rId5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2000" y="670120"/>
            <a:ext cx="8139404" cy="415245"/>
          </a:xfrm>
        </p:spPr>
        <p:txBody>
          <a:bodyPr/>
          <a:lstStyle/>
          <a:p>
            <a:r>
              <a:rPr lang="it-IT" b="1" dirty="0" smtClean="0"/>
              <a:t>Offriamo servizi completi per la ricarica domestica tramite </a:t>
            </a:r>
            <a:r>
              <a:rPr lang="it-IT" b="1" dirty="0" err="1" smtClean="0"/>
              <a:t>wall</a:t>
            </a:r>
            <a:r>
              <a:rPr lang="it-IT" b="1" dirty="0" smtClean="0"/>
              <a:t>-box</a:t>
            </a:r>
            <a:endParaRPr lang="it-IT" b="1" dirty="0"/>
          </a:p>
        </p:txBody>
      </p:sp>
      <p:pic>
        <p:nvPicPr>
          <p:cNvPr id="27" name="Picture 6" descr="https://www.esmartlife.it/images/wallbox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01196" y="3312037"/>
            <a:ext cx="775489" cy="991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9" descr="Immagine correlata"/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727" y="1686915"/>
            <a:ext cx="4433455" cy="1740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Immagine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93023" y="3043234"/>
            <a:ext cx="610495" cy="227918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>
          <a:xfrm>
            <a:off x="5691674" y="2202828"/>
            <a:ext cx="5952930" cy="913267"/>
          </a:xfrm>
          <a:prstGeom prst="rect">
            <a:avLst/>
          </a:prstGeom>
          <a:solidFill>
            <a:schemeClr val="bg1"/>
          </a:solidFill>
          <a:ln w="44450">
            <a:gradFill flip="none" rotWithShape="1">
              <a:gsLst>
                <a:gs pos="76000">
                  <a:schemeClr val="accent1"/>
                </a:gs>
                <a:gs pos="33000">
                  <a:schemeClr val="accent6"/>
                </a:gs>
                <a:gs pos="0">
                  <a:schemeClr val="bg1">
                    <a:alpha val="0"/>
                  </a:schemeClr>
                </a:gs>
              </a:gsLst>
              <a:lin ang="4200000" scaled="0"/>
              <a:tileRect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44000" tIns="0" rIns="0" bIns="0" rtlCol="0" anchor="ctr">
            <a:noAutofit/>
          </a:bodyPr>
          <a:lstStyle/>
          <a:p>
            <a:pPr>
              <a:lnSpc>
                <a:spcPct val="110000"/>
              </a:lnSpc>
            </a:pPr>
            <a:r>
              <a:rPr lang="it-IT" sz="1600" b="1" dirty="0">
                <a:solidFill>
                  <a:schemeClr val="accent1"/>
                </a:solidFill>
              </a:rPr>
              <a:t>Pacchetti «</a:t>
            </a:r>
            <a:r>
              <a:rPr lang="it-IT" sz="1600" b="1" dirty="0" err="1">
                <a:solidFill>
                  <a:schemeClr val="accent1"/>
                </a:solidFill>
              </a:rPr>
              <a:t>all</a:t>
            </a:r>
            <a:r>
              <a:rPr lang="it-IT" sz="1600" b="1" dirty="0">
                <a:solidFill>
                  <a:schemeClr val="accent1"/>
                </a:solidFill>
              </a:rPr>
              <a:t>-inclusive»</a:t>
            </a:r>
          </a:p>
        </p:txBody>
      </p:sp>
      <p:sp>
        <p:nvSpPr>
          <p:cNvPr id="20" name="Freeform 1198"/>
          <p:cNvSpPr>
            <a:spLocks noChangeAspect="1" noEditPoints="1"/>
          </p:cNvSpPr>
          <p:nvPr/>
        </p:nvSpPr>
        <p:spPr bwMode="auto">
          <a:xfrm>
            <a:off x="5899047" y="2358230"/>
            <a:ext cx="650031" cy="580966"/>
          </a:xfrm>
          <a:custGeom>
            <a:avLst/>
            <a:gdLst/>
            <a:ahLst/>
            <a:cxnLst>
              <a:cxn ang="0">
                <a:pos x="681" y="255"/>
              </a:cxn>
              <a:cxn ang="0">
                <a:pos x="743" y="130"/>
              </a:cxn>
              <a:cxn ang="0">
                <a:pos x="489" y="4"/>
              </a:cxn>
              <a:cxn ang="0">
                <a:pos x="409" y="117"/>
              </a:cxn>
              <a:cxn ang="0">
                <a:pos x="328" y="4"/>
              </a:cxn>
              <a:cxn ang="0">
                <a:pos x="74" y="130"/>
              </a:cxn>
              <a:cxn ang="0">
                <a:pos x="136" y="254"/>
              </a:cxn>
              <a:cxn ang="0">
                <a:pos x="1" y="282"/>
              </a:cxn>
              <a:cxn ang="0">
                <a:pos x="146" y="364"/>
              </a:cxn>
              <a:cxn ang="0">
                <a:pos x="156" y="604"/>
              </a:cxn>
              <a:cxn ang="0">
                <a:pos x="402" y="721"/>
              </a:cxn>
              <a:cxn ang="0">
                <a:pos x="415" y="721"/>
              </a:cxn>
              <a:cxn ang="0">
                <a:pos x="661" y="604"/>
              </a:cxn>
              <a:cxn ang="0">
                <a:pos x="671" y="390"/>
              </a:cxn>
              <a:cxn ang="0">
                <a:pos x="853" y="291"/>
              </a:cxn>
              <a:cxn ang="0">
                <a:pos x="489" y="42"/>
              </a:cxn>
              <a:cxn ang="0">
                <a:pos x="646" y="246"/>
              </a:cxn>
              <a:cxn ang="0">
                <a:pos x="489" y="42"/>
              </a:cxn>
              <a:cxn ang="0">
                <a:pos x="181" y="578"/>
              </a:cxn>
              <a:cxn ang="0">
                <a:pos x="256" y="416"/>
              </a:cxn>
              <a:cxn ang="0">
                <a:pos x="265" y="418"/>
              </a:cxn>
              <a:cxn ang="0">
                <a:pos x="391" y="677"/>
              </a:cxn>
              <a:cxn ang="0">
                <a:pos x="204" y="269"/>
              </a:cxn>
              <a:cxn ang="0">
                <a:pos x="613" y="269"/>
              </a:cxn>
              <a:cxn ang="0">
                <a:pos x="593" y="505"/>
              </a:cxn>
              <a:cxn ang="0">
                <a:pos x="569" y="607"/>
              </a:cxn>
              <a:cxn ang="0">
                <a:pos x="534" y="607"/>
              </a:cxn>
              <a:cxn ang="0">
                <a:pos x="518" y="532"/>
              </a:cxn>
              <a:cxn ang="0">
                <a:pos x="498" y="525"/>
              </a:cxn>
              <a:cxn ang="0">
                <a:pos x="538" y="458"/>
              </a:cxn>
              <a:cxn ang="0">
                <a:pos x="596" y="474"/>
              </a:cxn>
              <a:cxn ang="0">
                <a:pos x="593" y="505"/>
              </a:cxn>
              <a:cxn ang="0">
                <a:pos x="671" y="352"/>
              </a:cxn>
              <a:cxn ang="0">
                <a:pos x="469" y="375"/>
              </a:cxn>
              <a:cxn ang="0">
                <a:pos x="671" y="288"/>
              </a:cxn>
              <a:cxn ang="0">
                <a:pos x="775" y="303"/>
              </a:cxn>
            </a:cxnLst>
            <a:rect l="0" t="0" r="r" b="b"/>
            <a:pathLst>
              <a:path w="854" h="722">
                <a:moveTo>
                  <a:pt x="838" y="276"/>
                </a:moveTo>
                <a:cubicBezTo>
                  <a:pt x="681" y="255"/>
                  <a:pt x="681" y="255"/>
                  <a:pt x="681" y="255"/>
                </a:cubicBezTo>
                <a:cubicBezTo>
                  <a:pt x="742" y="144"/>
                  <a:pt x="742" y="144"/>
                  <a:pt x="742" y="144"/>
                </a:cubicBezTo>
                <a:cubicBezTo>
                  <a:pt x="744" y="140"/>
                  <a:pt x="745" y="135"/>
                  <a:pt x="743" y="130"/>
                </a:cubicBezTo>
                <a:cubicBezTo>
                  <a:pt x="742" y="126"/>
                  <a:pt x="739" y="122"/>
                  <a:pt x="734" y="120"/>
                </a:cubicBezTo>
                <a:cubicBezTo>
                  <a:pt x="489" y="4"/>
                  <a:pt x="489" y="4"/>
                  <a:pt x="489" y="4"/>
                </a:cubicBezTo>
                <a:cubicBezTo>
                  <a:pt x="481" y="0"/>
                  <a:pt x="471" y="3"/>
                  <a:pt x="467" y="11"/>
                </a:cubicBezTo>
                <a:cubicBezTo>
                  <a:pt x="409" y="117"/>
                  <a:pt x="409" y="117"/>
                  <a:pt x="409" y="117"/>
                </a:cubicBezTo>
                <a:cubicBezTo>
                  <a:pt x="350" y="11"/>
                  <a:pt x="350" y="11"/>
                  <a:pt x="350" y="11"/>
                </a:cubicBezTo>
                <a:cubicBezTo>
                  <a:pt x="346" y="3"/>
                  <a:pt x="336" y="0"/>
                  <a:pt x="328" y="4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78" y="122"/>
                  <a:pt x="75" y="126"/>
                  <a:pt x="74" y="130"/>
                </a:cubicBezTo>
                <a:cubicBezTo>
                  <a:pt x="72" y="135"/>
                  <a:pt x="73" y="140"/>
                  <a:pt x="75" y="144"/>
                </a:cubicBezTo>
                <a:cubicBezTo>
                  <a:pt x="136" y="254"/>
                  <a:pt x="136" y="254"/>
                  <a:pt x="136" y="254"/>
                </a:cubicBezTo>
                <a:cubicBezTo>
                  <a:pt x="16" y="267"/>
                  <a:pt x="16" y="267"/>
                  <a:pt x="16" y="267"/>
                </a:cubicBezTo>
                <a:cubicBezTo>
                  <a:pt x="8" y="268"/>
                  <a:pt x="2" y="274"/>
                  <a:pt x="1" y="282"/>
                </a:cubicBezTo>
                <a:cubicBezTo>
                  <a:pt x="0" y="289"/>
                  <a:pt x="4" y="297"/>
                  <a:pt x="11" y="300"/>
                </a:cubicBezTo>
                <a:cubicBezTo>
                  <a:pt x="146" y="364"/>
                  <a:pt x="146" y="364"/>
                  <a:pt x="146" y="364"/>
                </a:cubicBezTo>
                <a:cubicBezTo>
                  <a:pt x="146" y="589"/>
                  <a:pt x="146" y="589"/>
                  <a:pt x="146" y="589"/>
                </a:cubicBezTo>
                <a:cubicBezTo>
                  <a:pt x="146" y="595"/>
                  <a:pt x="150" y="602"/>
                  <a:pt x="156" y="604"/>
                </a:cubicBezTo>
                <a:cubicBezTo>
                  <a:pt x="401" y="720"/>
                  <a:pt x="401" y="720"/>
                  <a:pt x="401" y="720"/>
                </a:cubicBezTo>
                <a:cubicBezTo>
                  <a:pt x="401" y="721"/>
                  <a:pt x="402" y="721"/>
                  <a:pt x="402" y="721"/>
                </a:cubicBezTo>
                <a:cubicBezTo>
                  <a:pt x="404" y="722"/>
                  <a:pt x="406" y="722"/>
                  <a:pt x="409" y="722"/>
                </a:cubicBezTo>
                <a:cubicBezTo>
                  <a:pt x="411" y="722"/>
                  <a:pt x="413" y="722"/>
                  <a:pt x="415" y="721"/>
                </a:cubicBezTo>
                <a:cubicBezTo>
                  <a:pt x="415" y="721"/>
                  <a:pt x="416" y="721"/>
                  <a:pt x="416" y="720"/>
                </a:cubicBezTo>
                <a:cubicBezTo>
                  <a:pt x="661" y="604"/>
                  <a:pt x="661" y="604"/>
                  <a:pt x="661" y="604"/>
                </a:cubicBezTo>
                <a:cubicBezTo>
                  <a:pt x="667" y="602"/>
                  <a:pt x="671" y="595"/>
                  <a:pt x="671" y="589"/>
                </a:cubicBezTo>
                <a:cubicBezTo>
                  <a:pt x="671" y="390"/>
                  <a:pt x="671" y="390"/>
                  <a:pt x="671" y="390"/>
                </a:cubicBezTo>
                <a:cubicBezTo>
                  <a:pt x="843" y="309"/>
                  <a:pt x="843" y="309"/>
                  <a:pt x="843" y="309"/>
                </a:cubicBezTo>
                <a:cubicBezTo>
                  <a:pt x="850" y="306"/>
                  <a:pt x="854" y="298"/>
                  <a:pt x="853" y="291"/>
                </a:cubicBezTo>
                <a:cubicBezTo>
                  <a:pt x="852" y="283"/>
                  <a:pt x="846" y="277"/>
                  <a:pt x="838" y="276"/>
                </a:cubicBezTo>
                <a:close/>
                <a:moveTo>
                  <a:pt x="489" y="42"/>
                </a:moveTo>
                <a:cubicBezTo>
                  <a:pt x="703" y="143"/>
                  <a:pt x="703" y="143"/>
                  <a:pt x="703" y="143"/>
                </a:cubicBezTo>
                <a:cubicBezTo>
                  <a:pt x="646" y="246"/>
                  <a:pt x="646" y="246"/>
                  <a:pt x="646" y="246"/>
                </a:cubicBezTo>
                <a:cubicBezTo>
                  <a:pt x="433" y="145"/>
                  <a:pt x="433" y="145"/>
                  <a:pt x="433" y="145"/>
                </a:cubicBezTo>
                <a:lnTo>
                  <a:pt x="489" y="42"/>
                </a:lnTo>
                <a:close/>
                <a:moveTo>
                  <a:pt x="391" y="677"/>
                </a:moveTo>
                <a:cubicBezTo>
                  <a:pt x="181" y="578"/>
                  <a:pt x="181" y="578"/>
                  <a:pt x="181" y="578"/>
                </a:cubicBezTo>
                <a:cubicBezTo>
                  <a:pt x="181" y="381"/>
                  <a:pt x="181" y="381"/>
                  <a:pt x="181" y="381"/>
                </a:cubicBezTo>
                <a:cubicBezTo>
                  <a:pt x="256" y="416"/>
                  <a:pt x="256" y="416"/>
                  <a:pt x="256" y="416"/>
                </a:cubicBezTo>
                <a:cubicBezTo>
                  <a:pt x="258" y="417"/>
                  <a:pt x="261" y="418"/>
                  <a:pt x="263" y="418"/>
                </a:cubicBezTo>
                <a:cubicBezTo>
                  <a:pt x="264" y="418"/>
                  <a:pt x="264" y="418"/>
                  <a:pt x="265" y="418"/>
                </a:cubicBezTo>
                <a:cubicBezTo>
                  <a:pt x="391" y="404"/>
                  <a:pt x="391" y="404"/>
                  <a:pt x="391" y="404"/>
                </a:cubicBezTo>
                <a:lnTo>
                  <a:pt x="391" y="677"/>
                </a:lnTo>
                <a:close/>
                <a:moveTo>
                  <a:pt x="409" y="365"/>
                </a:moveTo>
                <a:cubicBezTo>
                  <a:pt x="204" y="269"/>
                  <a:pt x="204" y="269"/>
                  <a:pt x="204" y="269"/>
                </a:cubicBezTo>
                <a:cubicBezTo>
                  <a:pt x="409" y="172"/>
                  <a:pt x="409" y="172"/>
                  <a:pt x="409" y="172"/>
                </a:cubicBezTo>
                <a:cubicBezTo>
                  <a:pt x="613" y="269"/>
                  <a:pt x="613" y="269"/>
                  <a:pt x="613" y="269"/>
                </a:cubicBezTo>
                <a:lnTo>
                  <a:pt x="409" y="365"/>
                </a:lnTo>
                <a:close/>
                <a:moveTo>
                  <a:pt x="593" y="505"/>
                </a:moveTo>
                <a:cubicBezTo>
                  <a:pt x="569" y="514"/>
                  <a:pt x="569" y="514"/>
                  <a:pt x="569" y="514"/>
                </a:cubicBezTo>
                <a:cubicBezTo>
                  <a:pt x="569" y="607"/>
                  <a:pt x="569" y="607"/>
                  <a:pt x="569" y="607"/>
                </a:cubicBezTo>
                <a:cubicBezTo>
                  <a:pt x="569" y="617"/>
                  <a:pt x="561" y="625"/>
                  <a:pt x="551" y="625"/>
                </a:cubicBezTo>
                <a:cubicBezTo>
                  <a:pt x="542" y="625"/>
                  <a:pt x="534" y="617"/>
                  <a:pt x="534" y="607"/>
                </a:cubicBezTo>
                <a:cubicBezTo>
                  <a:pt x="534" y="526"/>
                  <a:pt x="534" y="526"/>
                  <a:pt x="534" y="526"/>
                </a:cubicBezTo>
                <a:cubicBezTo>
                  <a:pt x="518" y="532"/>
                  <a:pt x="518" y="532"/>
                  <a:pt x="518" y="532"/>
                </a:cubicBezTo>
                <a:cubicBezTo>
                  <a:pt x="516" y="532"/>
                  <a:pt x="514" y="533"/>
                  <a:pt x="513" y="533"/>
                </a:cubicBezTo>
                <a:cubicBezTo>
                  <a:pt x="507" y="533"/>
                  <a:pt x="502" y="530"/>
                  <a:pt x="498" y="525"/>
                </a:cubicBezTo>
                <a:cubicBezTo>
                  <a:pt x="494" y="519"/>
                  <a:pt x="494" y="510"/>
                  <a:pt x="499" y="504"/>
                </a:cubicBezTo>
                <a:cubicBezTo>
                  <a:pt x="538" y="458"/>
                  <a:pt x="538" y="458"/>
                  <a:pt x="538" y="458"/>
                </a:cubicBezTo>
                <a:cubicBezTo>
                  <a:pt x="543" y="452"/>
                  <a:pt x="552" y="450"/>
                  <a:pt x="560" y="454"/>
                </a:cubicBezTo>
                <a:cubicBezTo>
                  <a:pt x="596" y="474"/>
                  <a:pt x="596" y="474"/>
                  <a:pt x="596" y="474"/>
                </a:cubicBezTo>
                <a:cubicBezTo>
                  <a:pt x="602" y="477"/>
                  <a:pt x="605" y="483"/>
                  <a:pt x="604" y="490"/>
                </a:cubicBezTo>
                <a:cubicBezTo>
                  <a:pt x="604" y="497"/>
                  <a:pt x="599" y="503"/>
                  <a:pt x="593" y="505"/>
                </a:cubicBezTo>
                <a:close/>
                <a:moveTo>
                  <a:pt x="671" y="352"/>
                </a:moveTo>
                <a:cubicBezTo>
                  <a:pt x="671" y="352"/>
                  <a:pt x="671" y="352"/>
                  <a:pt x="671" y="352"/>
                </a:cubicBezTo>
                <a:cubicBezTo>
                  <a:pt x="588" y="391"/>
                  <a:pt x="588" y="391"/>
                  <a:pt x="588" y="391"/>
                </a:cubicBezTo>
                <a:cubicBezTo>
                  <a:pt x="469" y="375"/>
                  <a:pt x="469" y="375"/>
                  <a:pt x="469" y="375"/>
                </a:cubicBezTo>
                <a:cubicBezTo>
                  <a:pt x="656" y="286"/>
                  <a:pt x="656" y="286"/>
                  <a:pt x="656" y="286"/>
                </a:cubicBezTo>
                <a:cubicBezTo>
                  <a:pt x="671" y="288"/>
                  <a:pt x="671" y="288"/>
                  <a:pt x="671" y="288"/>
                </a:cubicBezTo>
                <a:cubicBezTo>
                  <a:pt x="671" y="288"/>
                  <a:pt x="671" y="288"/>
                  <a:pt x="671" y="288"/>
                </a:cubicBezTo>
                <a:cubicBezTo>
                  <a:pt x="775" y="303"/>
                  <a:pt x="775" y="303"/>
                  <a:pt x="775" y="303"/>
                </a:cubicBezTo>
                <a:lnTo>
                  <a:pt x="671" y="352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it-IT" dirty="0"/>
          </a:p>
        </p:txBody>
      </p:sp>
      <p:sp>
        <p:nvSpPr>
          <p:cNvPr id="37" name="Rectangle 36"/>
          <p:cNvSpPr/>
          <p:nvPr/>
        </p:nvSpPr>
        <p:spPr>
          <a:xfrm>
            <a:off x="5691674" y="3429918"/>
            <a:ext cx="5952930" cy="913267"/>
          </a:xfrm>
          <a:prstGeom prst="rect">
            <a:avLst/>
          </a:prstGeom>
          <a:solidFill>
            <a:schemeClr val="bg1"/>
          </a:solidFill>
          <a:ln w="44450">
            <a:gradFill flip="none" rotWithShape="1">
              <a:gsLst>
                <a:gs pos="28000">
                  <a:schemeClr val="accent1"/>
                </a:gs>
                <a:gs pos="67000">
                  <a:schemeClr val="accent6"/>
                </a:gs>
                <a:gs pos="100000">
                  <a:schemeClr val="bg1">
                    <a:alpha val="0"/>
                  </a:schemeClr>
                </a:gs>
              </a:gsLst>
              <a:lin ang="4200000" scaled="0"/>
              <a:tileRect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44000" tIns="0" rIns="0" bIns="0" rtlCol="0" anchor="ctr">
            <a:noAutofit/>
          </a:bodyPr>
          <a:lstStyle/>
          <a:p>
            <a:pPr>
              <a:lnSpc>
                <a:spcPct val="110000"/>
              </a:lnSpc>
            </a:pPr>
            <a:r>
              <a:rPr lang="it-IT" sz="1600" b="1" dirty="0">
                <a:solidFill>
                  <a:schemeClr val="accent1"/>
                </a:solidFill>
              </a:rPr>
              <a:t>Possibilità di effettuare servizi di </a:t>
            </a:r>
            <a:r>
              <a:rPr lang="it-IT" sz="1600" b="1" dirty="0" err="1">
                <a:solidFill>
                  <a:schemeClr val="accent1"/>
                </a:solidFill>
              </a:rPr>
              <a:t>smart</a:t>
            </a:r>
            <a:r>
              <a:rPr lang="it-IT" sz="1600" b="1" dirty="0">
                <a:solidFill>
                  <a:schemeClr val="accent1"/>
                </a:solidFill>
              </a:rPr>
              <a:t> </a:t>
            </a:r>
            <a:r>
              <a:rPr lang="it-IT" sz="1600" b="1" dirty="0" err="1">
                <a:solidFill>
                  <a:schemeClr val="accent1"/>
                </a:solidFill>
              </a:rPr>
              <a:t>charging</a:t>
            </a:r>
            <a:endParaRPr lang="it-IT" sz="1600" b="1" dirty="0">
              <a:solidFill>
                <a:schemeClr val="accent1"/>
              </a:solidFill>
            </a:endParaRPr>
          </a:p>
        </p:txBody>
      </p:sp>
      <p:pic>
        <p:nvPicPr>
          <p:cNvPr id="19470" name="Picture 14" descr="Related image"/>
          <p:cNvPicPr>
            <a:picLocks noChangeAspect="1" noChangeArrowheads="1"/>
          </p:cNvPicPr>
          <p:nvPr/>
        </p:nvPicPr>
        <p:blipFill>
          <a:blip r:embed="rId10">
            <a:duotone>
              <a:prstClr val="black"/>
              <a:schemeClr val="accent1">
                <a:lumMod val="60000"/>
                <a:lumOff val="40000"/>
                <a:tint val="45000"/>
                <a:satMod val="400000"/>
              </a:schemeClr>
            </a:duotone>
            <a:lum bright="-10000" contrast="2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6898" y="3584660"/>
            <a:ext cx="694328" cy="608263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5" name="Freeform 4"/>
          <p:cNvSpPr/>
          <p:nvPr/>
        </p:nvSpPr>
        <p:spPr>
          <a:xfrm>
            <a:off x="3465033" y="3391503"/>
            <a:ext cx="1692926" cy="2126344"/>
          </a:xfrm>
          <a:custGeom>
            <a:avLst/>
            <a:gdLst>
              <a:gd name="connsiteX0" fmla="*/ 731873 w 1478491"/>
              <a:gd name="connsiteY0" fmla="*/ 704636 h 2126344"/>
              <a:gd name="connsiteX1" fmla="*/ 1478322 w 1478491"/>
              <a:gd name="connsiteY1" fmla="*/ 1768326 h 2126344"/>
              <a:gd name="connsiteX2" fmla="*/ 675890 w 1478491"/>
              <a:gd name="connsiteY2" fmla="*/ 2020252 h 2126344"/>
              <a:gd name="connsiteX3" fmla="*/ 293335 w 1478491"/>
              <a:gd name="connsiteY3" fmla="*/ 154130 h 2126344"/>
              <a:gd name="connsiteX4" fmla="*/ 13416 w 1478491"/>
              <a:gd name="connsiteY4" fmla="*/ 116807 h 2126344"/>
              <a:gd name="connsiteX5" fmla="*/ 41408 w 1478491"/>
              <a:gd name="connsiteY5" fmla="*/ 219444 h 2126344"/>
              <a:gd name="connsiteX6" fmla="*/ 41408 w 1478491"/>
              <a:gd name="connsiteY6" fmla="*/ 219444 h 2126344"/>
              <a:gd name="connsiteX7" fmla="*/ 41408 w 1478491"/>
              <a:gd name="connsiteY7" fmla="*/ 219444 h 2126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78491" h="2126344">
                <a:moveTo>
                  <a:pt x="731873" y="704636"/>
                </a:moveTo>
                <a:cubicBezTo>
                  <a:pt x="1109762" y="1126846"/>
                  <a:pt x="1487652" y="1549057"/>
                  <a:pt x="1478322" y="1768326"/>
                </a:cubicBezTo>
                <a:cubicBezTo>
                  <a:pt x="1468992" y="1987595"/>
                  <a:pt x="873388" y="2289285"/>
                  <a:pt x="675890" y="2020252"/>
                </a:cubicBezTo>
                <a:cubicBezTo>
                  <a:pt x="478392" y="1751219"/>
                  <a:pt x="403747" y="471371"/>
                  <a:pt x="293335" y="154130"/>
                </a:cubicBezTo>
                <a:cubicBezTo>
                  <a:pt x="182923" y="-163111"/>
                  <a:pt x="55404" y="105921"/>
                  <a:pt x="13416" y="116807"/>
                </a:cubicBezTo>
                <a:cubicBezTo>
                  <a:pt x="-28572" y="127693"/>
                  <a:pt x="41408" y="219444"/>
                  <a:pt x="41408" y="219444"/>
                </a:cubicBezTo>
                <a:lnTo>
                  <a:pt x="41408" y="219444"/>
                </a:lnTo>
                <a:lnTo>
                  <a:pt x="41408" y="219444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6" name="Freeform 5"/>
          <p:cNvSpPr/>
          <p:nvPr/>
        </p:nvSpPr>
        <p:spPr>
          <a:xfrm>
            <a:off x="3581085" y="3492399"/>
            <a:ext cx="1390261" cy="1494898"/>
          </a:xfrm>
          <a:custGeom>
            <a:avLst/>
            <a:gdLst>
              <a:gd name="connsiteX0" fmla="*/ 539524 w 1081893"/>
              <a:gd name="connsiteY0" fmla="*/ 613070 h 1494898"/>
              <a:gd name="connsiteX1" fmla="*/ 1080700 w 1081893"/>
              <a:gd name="connsiteY1" fmla="*/ 1238221 h 1494898"/>
              <a:gd name="connsiteX2" fmla="*/ 670153 w 1081893"/>
              <a:gd name="connsiteY2" fmla="*/ 1424834 h 1494898"/>
              <a:gd name="connsiteX3" fmla="*/ 175630 w 1081893"/>
              <a:gd name="connsiteY3" fmla="*/ 99887 h 1494898"/>
              <a:gd name="connsiteX4" fmla="*/ 7679 w 1081893"/>
              <a:gd name="connsiteY4" fmla="*/ 90556 h 1494898"/>
              <a:gd name="connsiteX5" fmla="*/ 26340 w 1081893"/>
              <a:gd name="connsiteY5" fmla="*/ 62564 h 1494898"/>
              <a:gd name="connsiteX6" fmla="*/ 26340 w 1081893"/>
              <a:gd name="connsiteY6" fmla="*/ 62564 h 1494898"/>
              <a:gd name="connsiteX7" fmla="*/ 26340 w 1081893"/>
              <a:gd name="connsiteY7" fmla="*/ 62564 h 1494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81893" h="1494898">
                <a:moveTo>
                  <a:pt x="539524" y="613070"/>
                </a:moveTo>
                <a:cubicBezTo>
                  <a:pt x="799226" y="857998"/>
                  <a:pt x="1058929" y="1102927"/>
                  <a:pt x="1080700" y="1238221"/>
                </a:cubicBezTo>
                <a:cubicBezTo>
                  <a:pt x="1102472" y="1373515"/>
                  <a:pt x="820998" y="1614556"/>
                  <a:pt x="670153" y="1424834"/>
                </a:cubicBezTo>
                <a:cubicBezTo>
                  <a:pt x="519308" y="1235112"/>
                  <a:pt x="286042" y="322267"/>
                  <a:pt x="175630" y="99887"/>
                </a:cubicBezTo>
                <a:cubicBezTo>
                  <a:pt x="65218" y="-122493"/>
                  <a:pt x="32561" y="96776"/>
                  <a:pt x="7679" y="90556"/>
                </a:cubicBezTo>
                <a:cubicBezTo>
                  <a:pt x="-17203" y="84336"/>
                  <a:pt x="26340" y="62564"/>
                  <a:pt x="26340" y="62564"/>
                </a:cubicBezTo>
                <a:lnTo>
                  <a:pt x="26340" y="62564"/>
                </a:lnTo>
                <a:lnTo>
                  <a:pt x="26340" y="62564"/>
                </a:lnTo>
              </a:path>
            </a:pathLst>
          </a:cu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1"/>
          <a:srcRect l="3857" t="7616"/>
          <a:stretch/>
        </p:blipFill>
        <p:spPr>
          <a:xfrm>
            <a:off x="1381636" y="2990762"/>
            <a:ext cx="2532945" cy="2126845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>
          <a:xfrm>
            <a:off x="5691674" y="4657009"/>
            <a:ext cx="5952930" cy="913267"/>
          </a:xfrm>
          <a:prstGeom prst="rect">
            <a:avLst/>
          </a:prstGeom>
          <a:solidFill>
            <a:schemeClr val="bg1"/>
          </a:solidFill>
          <a:ln w="44450">
            <a:gradFill flip="none" rotWithShape="1">
              <a:gsLst>
                <a:gs pos="76000">
                  <a:schemeClr val="accent1"/>
                </a:gs>
                <a:gs pos="33000">
                  <a:schemeClr val="accent6"/>
                </a:gs>
                <a:gs pos="0">
                  <a:schemeClr val="bg1">
                    <a:alpha val="0"/>
                  </a:schemeClr>
                </a:gs>
              </a:gsLst>
              <a:lin ang="4200000" scaled="0"/>
              <a:tileRect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44000" tIns="0" rIns="0" bIns="0" rtlCol="0" anchor="ctr">
            <a:noAutofit/>
          </a:bodyPr>
          <a:lstStyle/>
          <a:p>
            <a:pPr>
              <a:lnSpc>
                <a:spcPct val="110000"/>
              </a:lnSpc>
            </a:pPr>
            <a:r>
              <a:rPr lang="it-IT" sz="1600" b="1" dirty="0">
                <a:solidFill>
                  <a:schemeClr val="accent1"/>
                </a:solidFill>
              </a:rPr>
              <a:t>Partnership con Nissan, Mercedes </a:t>
            </a:r>
          </a:p>
        </p:txBody>
      </p:sp>
      <p:sp>
        <p:nvSpPr>
          <p:cNvPr id="15" name="Freeform 3041"/>
          <p:cNvSpPr>
            <a:spLocks noEditPoints="1"/>
          </p:cNvSpPr>
          <p:nvPr/>
        </p:nvSpPr>
        <p:spPr bwMode="auto">
          <a:xfrm>
            <a:off x="5881916" y="4938393"/>
            <a:ext cx="684292" cy="396532"/>
          </a:xfrm>
          <a:custGeom>
            <a:avLst/>
            <a:gdLst/>
            <a:ahLst/>
            <a:cxnLst>
              <a:cxn ang="0">
                <a:pos x="651" y="360"/>
              </a:cxn>
              <a:cxn ang="0">
                <a:pos x="608" y="393"/>
              </a:cxn>
              <a:cxn ang="0">
                <a:pos x="552" y="379"/>
              </a:cxn>
              <a:cxn ang="0">
                <a:pos x="526" y="403"/>
              </a:cxn>
              <a:cxn ang="0">
                <a:pos x="500" y="409"/>
              </a:cxn>
              <a:cxn ang="0">
                <a:pos x="495" y="409"/>
              </a:cxn>
              <a:cxn ang="0">
                <a:pos x="481" y="407"/>
              </a:cxn>
              <a:cxn ang="0">
                <a:pos x="448" y="345"/>
              </a:cxn>
              <a:cxn ang="0">
                <a:pos x="411" y="336"/>
              </a:cxn>
              <a:cxn ang="0">
                <a:pos x="352" y="299"/>
              </a:cxn>
              <a:cxn ang="0">
                <a:pos x="321" y="271"/>
              </a:cxn>
              <a:cxn ang="0">
                <a:pos x="231" y="295"/>
              </a:cxn>
              <a:cxn ang="0">
                <a:pos x="174" y="288"/>
              </a:cxn>
              <a:cxn ang="0">
                <a:pos x="200" y="103"/>
              </a:cxn>
              <a:cxn ang="0">
                <a:pos x="304" y="74"/>
              </a:cxn>
              <a:cxn ang="0">
                <a:pos x="289" y="145"/>
              </a:cxn>
              <a:cxn ang="0">
                <a:pos x="363" y="202"/>
              </a:cxn>
              <a:cxn ang="0">
                <a:pos x="458" y="115"/>
              </a:cxn>
              <a:cxn ang="0">
                <a:pos x="635" y="213"/>
              </a:cxn>
              <a:cxn ang="0">
                <a:pos x="639" y="219"/>
              </a:cxn>
              <a:cxn ang="0">
                <a:pos x="672" y="354"/>
              </a:cxn>
              <a:cxn ang="0">
                <a:pos x="253" y="308"/>
              </a:cxn>
              <a:cxn ang="0">
                <a:pos x="233" y="424"/>
              </a:cxn>
              <a:cxn ang="0">
                <a:pos x="277" y="421"/>
              </a:cxn>
              <a:cxn ang="0">
                <a:pos x="317" y="466"/>
              </a:cxn>
              <a:cxn ang="0">
                <a:pos x="357" y="436"/>
              </a:cxn>
              <a:cxn ang="0">
                <a:pos x="397" y="474"/>
              </a:cxn>
              <a:cxn ang="0">
                <a:pos x="450" y="422"/>
              </a:cxn>
              <a:cxn ang="0">
                <a:pos x="415" y="362"/>
              </a:cxn>
              <a:cxn ang="0">
                <a:pos x="372" y="330"/>
              </a:cxn>
              <a:cxn ang="0">
                <a:pos x="328" y="333"/>
              </a:cxn>
              <a:cxn ang="0">
                <a:pos x="288" y="288"/>
              </a:cxn>
              <a:cxn ang="0">
                <a:pos x="683" y="41"/>
              </a:cxn>
              <a:cxn ang="0">
                <a:pos x="835" y="389"/>
              </a:cxn>
              <a:cxn ang="0">
                <a:pos x="820" y="0"/>
              </a:cxn>
              <a:cxn ang="0">
                <a:pos x="0" y="210"/>
              </a:cxn>
              <a:cxn ang="0">
                <a:pos x="84" y="402"/>
              </a:cxn>
              <a:cxn ang="0">
                <a:pos x="54" y="0"/>
              </a:cxn>
              <a:cxn ang="0">
                <a:pos x="207" y="337"/>
              </a:cxn>
              <a:cxn ang="0">
                <a:pos x="150" y="302"/>
              </a:cxn>
              <a:cxn ang="0">
                <a:pos x="161" y="370"/>
              </a:cxn>
              <a:cxn ang="0">
                <a:pos x="188" y="376"/>
              </a:cxn>
              <a:cxn ang="0">
                <a:pos x="712" y="230"/>
              </a:cxn>
              <a:cxn ang="0">
                <a:pos x="630" y="50"/>
              </a:cxn>
              <a:cxn ang="0">
                <a:pos x="497" y="21"/>
              </a:cxn>
              <a:cxn ang="0">
                <a:pos x="418" y="4"/>
              </a:cxn>
              <a:cxn ang="0">
                <a:pos x="416" y="4"/>
              </a:cxn>
              <a:cxn ang="0">
                <a:pos x="409" y="3"/>
              </a:cxn>
              <a:cxn ang="0">
                <a:pos x="404" y="3"/>
              </a:cxn>
              <a:cxn ang="0">
                <a:pos x="319" y="99"/>
              </a:cxn>
              <a:cxn ang="0">
                <a:pos x="363" y="176"/>
              </a:cxn>
              <a:cxn ang="0">
                <a:pos x="448" y="80"/>
              </a:cxn>
              <a:cxn ang="0">
                <a:pos x="656" y="198"/>
              </a:cxn>
              <a:cxn ang="0">
                <a:pos x="662" y="207"/>
              </a:cxn>
              <a:cxn ang="0">
                <a:pos x="712" y="230"/>
              </a:cxn>
            </a:cxnLst>
            <a:rect l="0" t="0" r="r" b="b"/>
            <a:pathLst>
              <a:path w="873" h="474">
                <a:moveTo>
                  <a:pt x="672" y="354"/>
                </a:moveTo>
                <a:cubicBezTo>
                  <a:pt x="666" y="358"/>
                  <a:pt x="658" y="360"/>
                  <a:pt x="651" y="360"/>
                </a:cubicBezTo>
                <a:cubicBezTo>
                  <a:pt x="643" y="360"/>
                  <a:pt x="634" y="357"/>
                  <a:pt x="627" y="352"/>
                </a:cubicBezTo>
                <a:cubicBezTo>
                  <a:pt x="630" y="368"/>
                  <a:pt x="623" y="384"/>
                  <a:pt x="608" y="393"/>
                </a:cubicBezTo>
                <a:cubicBezTo>
                  <a:pt x="602" y="397"/>
                  <a:pt x="594" y="399"/>
                  <a:pt x="587" y="399"/>
                </a:cubicBezTo>
                <a:cubicBezTo>
                  <a:pt x="573" y="399"/>
                  <a:pt x="560" y="392"/>
                  <a:pt x="552" y="379"/>
                </a:cubicBezTo>
                <a:cubicBezTo>
                  <a:pt x="546" y="369"/>
                  <a:pt x="546" y="369"/>
                  <a:pt x="546" y="369"/>
                </a:cubicBezTo>
                <a:cubicBezTo>
                  <a:pt x="545" y="383"/>
                  <a:pt x="538" y="396"/>
                  <a:pt x="526" y="403"/>
                </a:cubicBezTo>
                <a:cubicBezTo>
                  <a:pt x="520" y="407"/>
                  <a:pt x="512" y="409"/>
                  <a:pt x="505" y="409"/>
                </a:cubicBezTo>
                <a:cubicBezTo>
                  <a:pt x="503" y="409"/>
                  <a:pt x="501" y="409"/>
                  <a:pt x="500" y="409"/>
                </a:cubicBezTo>
                <a:cubicBezTo>
                  <a:pt x="498" y="409"/>
                  <a:pt x="497" y="409"/>
                  <a:pt x="496" y="409"/>
                </a:cubicBezTo>
                <a:cubicBezTo>
                  <a:pt x="496" y="409"/>
                  <a:pt x="495" y="409"/>
                  <a:pt x="495" y="409"/>
                </a:cubicBezTo>
                <a:cubicBezTo>
                  <a:pt x="492" y="409"/>
                  <a:pt x="490" y="409"/>
                  <a:pt x="487" y="408"/>
                </a:cubicBezTo>
                <a:cubicBezTo>
                  <a:pt x="481" y="407"/>
                  <a:pt x="481" y="407"/>
                  <a:pt x="481" y="407"/>
                </a:cubicBezTo>
                <a:cubicBezTo>
                  <a:pt x="482" y="400"/>
                  <a:pt x="481" y="392"/>
                  <a:pt x="479" y="385"/>
                </a:cubicBezTo>
                <a:cubicBezTo>
                  <a:pt x="475" y="368"/>
                  <a:pt x="464" y="353"/>
                  <a:pt x="448" y="345"/>
                </a:cubicBezTo>
                <a:cubicBezTo>
                  <a:pt x="438" y="339"/>
                  <a:pt x="427" y="336"/>
                  <a:pt x="415" y="336"/>
                </a:cubicBezTo>
                <a:cubicBezTo>
                  <a:pt x="414" y="336"/>
                  <a:pt x="412" y="336"/>
                  <a:pt x="411" y="336"/>
                </a:cubicBezTo>
                <a:cubicBezTo>
                  <a:pt x="405" y="324"/>
                  <a:pt x="396" y="315"/>
                  <a:pt x="385" y="308"/>
                </a:cubicBezTo>
                <a:cubicBezTo>
                  <a:pt x="375" y="302"/>
                  <a:pt x="363" y="299"/>
                  <a:pt x="352" y="299"/>
                </a:cubicBezTo>
                <a:cubicBezTo>
                  <a:pt x="350" y="299"/>
                  <a:pt x="349" y="299"/>
                  <a:pt x="347" y="299"/>
                </a:cubicBezTo>
                <a:cubicBezTo>
                  <a:pt x="342" y="288"/>
                  <a:pt x="332" y="278"/>
                  <a:pt x="321" y="271"/>
                </a:cubicBezTo>
                <a:cubicBezTo>
                  <a:pt x="311" y="265"/>
                  <a:pt x="299" y="262"/>
                  <a:pt x="288" y="262"/>
                </a:cubicBezTo>
                <a:cubicBezTo>
                  <a:pt x="264" y="262"/>
                  <a:pt x="242" y="275"/>
                  <a:pt x="231" y="295"/>
                </a:cubicBezTo>
                <a:cubicBezTo>
                  <a:pt x="220" y="314"/>
                  <a:pt x="220" y="314"/>
                  <a:pt x="220" y="314"/>
                </a:cubicBezTo>
                <a:cubicBezTo>
                  <a:pt x="174" y="288"/>
                  <a:pt x="174" y="288"/>
                  <a:pt x="174" y="288"/>
                </a:cubicBezTo>
                <a:cubicBezTo>
                  <a:pt x="160" y="280"/>
                  <a:pt x="154" y="264"/>
                  <a:pt x="158" y="249"/>
                </a:cubicBezTo>
                <a:cubicBezTo>
                  <a:pt x="200" y="103"/>
                  <a:pt x="200" y="103"/>
                  <a:pt x="200" y="103"/>
                </a:cubicBezTo>
                <a:cubicBezTo>
                  <a:pt x="204" y="89"/>
                  <a:pt x="216" y="79"/>
                  <a:pt x="230" y="78"/>
                </a:cubicBezTo>
                <a:cubicBezTo>
                  <a:pt x="304" y="74"/>
                  <a:pt x="304" y="74"/>
                  <a:pt x="304" y="74"/>
                </a:cubicBezTo>
                <a:cubicBezTo>
                  <a:pt x="297" y="86"/>
                  <a:pt x="297" y="86"/>
                  <a:pt x="297" y="86"/>
                </a:cubicBezTo>
                <a:cubicBezTo>
                  <a:pt x="286" y="104"/>
                  <a:pt x="283" y="125"/>
                  <a:pt x="289" y="145"/>
                </a:cubicBezTo>
                <a:cubicBezTo>
                  <a:pt x="294" y="165"/>
                  <a:pt x="307" y="181"/>
                  <a:pt x="325" y="192"/>
                </a:cubicBezTo>
                <a:cubicBezTo>
                  <a:pt x="337" y="198"/>
                  <a:pt x="350" y="202"/>
                  <a:pt x="363" y="202"/>
                </a:cubicBezTo>
                <a:cubicBezTo>
                  <a:pt x="391" y="202"/>
                  <a:pt x="416" y="187"/>
                  <a:pt x="430" y="163"/>
                </a:cubicBezTo>
                <a:cubicBezTo>
                  <a:pt x="458" y="115"/>
                  <a:pt x="458" y="115"/>
                  <a:pt x="458" y="115"/>
                </a:cubicBezTo>
                <a:cubicBezTo>
                  <a:pt x="621" y="201"/>
                  <a:pt x="621" y="201"/>
                  <a:pt x="621" y="201"/>
                </a:cubicBezTo>
                <a:cubicBezTo>
                  <a:pt x="627" y="204"/>
                  <a:pt x="631" y="208"/>
                  <a:pt x="635" y="213"/>
                </a:cubicBezTo>
                <a:cubicBezTo>
                  <a:pt x="636" y="215"/>
                  <a:pt x="637" y="216"/>
                  <a:pt x="638" y="217"/>
                </a:cubicBezTo>
                <a:cubicBezTo>
                  <a:pt x="638" y="218"/>
                  <a:pt x="638" y="219"/>
                  <a:pt x="639" y="219"/>
                </a:cubicBezTo>
                <a:cubicBezTo>
                  <a:pt x="686" y="297"/>
                  <a:pt x="686" y="297"/>
                  <a:pt x="686" y="297"/>
                </a:cubicBezTo>
                <a:cubicBezTo>
                  <a:pt x="698" y="316"/>
                  <a:pt x="692" y="342"/>
                  <a:pt x="672" y="354"/>
                </a:cubicBezTo>
                <a:close/>
                <a:moveTo>
                  <a:pt x="288" y="288"/>
                </a:moveTo>
                <a:cubicBezTo>
                  <a:pt x="274" y="288"/>
                  <a:pt x="260" y="295"/>
                  <a:pt x="253" y="308"/>
                </a:cubicBezTo>
                <a:cubicBezTo>
                  <a:pt x="218" y="369"/>
                  <a:pt x="218" y="369"/>
                  <a:pt x="218" y="369"/>
                </a:cubicBezTo>
                <a:cubicBezTo>
                  <a:pt x="207" y="388"/>
                  <a:pt x="214" y="412"/>
                  <a:pt x="233" y="424"/>
                </a:cubicBezTo>
                <a:cubicBezTo>
                  <a:pt x="239" y="427"/>
                  <a:pt x="246" y="429"/>
                  <a:pt x="253" y="429"/>
                </a:cubicBezTo>
                <a:cubicBezTo>
                  <a:pt x="261" y="429"/>
                  <a:pt x="270" y="426"/>
                  <a:pt x="277" y="421"/>
                </a:cubicBezTo>
                <a:cubicBezTo>
                  <a:pt x="275" y="436"/>
                  <a:pt x="282" y="452"/>
                  <a:pt x="297" y="460"/>
                </a:cubicBezTo>
                <a:cubicBezTo>
                  <a:pt x="303" y="464"/>
                  <a:pt x="310" y="466"/>
                  <a:pt x="317" y="466"/>
                </a:cubicBezTo>
                <a:cubicBezTo>
                  <a:pt x="330" y="466"/>
                  <a:pt x="344" y="459"/>
                  <a:pt x="351" y="446"/>
                </a:cubicBezTo>
                <a:cubicBezTo>
                  <a:pt x="357" y="436"/>
                  <a:pt x="357" y="436"/>
                  <a:pt x="357" y="436"/>
                </a:cubicBezTo>
                <a:cubicBezTo>
                  <a:pt x="358" y="449"/>
                  <a:pt x="365" y="461"/>
                  <a:pt x="377" y="468"/>
                </a:cubicBezTo>
                <a:cubicBezTo>
                  <a:pt x="383" y="472"/>
                  <a:pt x="390" y="474"/>
                  <a:pt x="397" y="474"/>
                </a:cubicBezTo>
                <a:cubicBezTo>
                  <a:pt x="411" y="474"/>
                  <a:pt x="424" y="467"/>
                  <a:pt x="432" y="454"/>
                </a:cubicBezTo>
                <a:cubicBezTo>
                  <a:pt x="450" y="422"/>
                  <a:pt x="450" y="422"/>
                  <a:pt x="450" y="422"/>
                </a:cubicBezTo>
                <a:cubicBezTo>
                  <a:pt x="461" y="403"/>
                  <a:pt x="455" y="378"/>
                  <a:pt x="435" y="367"/>
                </a:cubicBezTo>
                <a:cubicBezTo>
                  <a:pt x="429" y="364"/>
                  <a:pt x="422" y="362"/>
                  <a:pt x="415" y="362"/>
                </a:cubicBezTo>
                <a:cubicBezTo>
                  <a:pt x="407" y="362"/>
                  <a:pt x="398" y="365"/>
                  <a:pt x="391" y="370"/>
                </a:cubicBezTo>
                <a:cubicBezTo>
                  <a:pt x="393" y="354"/>
                  <a:pt x="386" y="339"/>
                  <a:pt x="372" y="330"/>
                </a:cubicBezTo>
                <a:cubicBezTo>
                  <a:pt x="365" y="327"/>
                  <a:pt x="358" y="325"/>
                  <a:pt x="352" y="325"/>
                </a:cubicBezTo>
                <a:cubicBezTo>
                  <a:pt x="343" y="325"/>
                  <a:pt x="335" y="328"/>
                  <a:pt x="328" y="333"/>
                </a:cubicBezTo>
                <a:cubicBezTo>
                  <a:pt x="329" y="317"/>
                  <a:pt x="322" y="302"/>
                  <a:pt x="308" y="293"/>
                </a:cubicBezTo>
                <a:cubicBezTo>
                  <a:pt x="302" y="290"/>
                  <a:pt x="295" y="288"/>
                  <a:pt x="288" y="288"/>
                </a:cubicBezTo>
                <a:moveTo>
                  <a:pt x="820" y="0"/>
                </a:moveTo>
                <a:cubicBezTo>
                  <a:pt x="683" y="41"/>
                  <a:pt x="683" y="41"/>
                  <a:pt x="683" y="41"/>
                </a:cubicBezTo>
                <a:cubicBezTo>
                  <a:pt x="790" y="402"/>
                  <a:pt x="790" y="402"/>
                  <a:pt x="790" y="402"/>
                </a:cubicBezTo>
                <a:cubicBezTo>
                  <a:pt x="835" y="389"/>
                  <a:pt x="835" y="389"/>
                  <a:pt x="835" y="389"/>
                </a:cubicBezTo>
                <a:cubicBezTo>
                  <a:pt x="859" y="334"/>
                  <a:pt x="873" y="274"/>
                  <a:pt x="873" y="210"/>
                </a:cubicBezTo>
                <a:cubicBezTo>
                  <a:pt x="873" y="134"/>
                  <a:pt x="854" y="62"/>
                  <a:pt x="820" y="0"/>
                </a:cubicBezTo>
                <a:close/>
                <a:moveTo>
                  <a:pt x="54" y="0"/>
                </a:moveTo>
                <a:cubicBezTo>
                  <a:pt x="20" y="62"/>
                  <a:pt x="0" y="134"/>
                  <a:pt x="0" y="210"/>
                </a:cubicBezTo>
                <a:cubicBezTo>
                  <a:pt x="0" y="274"/>
                  <a:pt x="14" y="334"/>
                  <a:pt x="39" y="389"/>
                </a:cubicBezTo>
                <a:cubicBezTo>
                  <a:pt x="84" y="402"/>
                  <a:pt x="84" y="402"/>
                  <a:pt x="84" y="402"/>
                </a:cubicBezTo>
                <a:cubicBezTo>
                  <a:pt x="191" y="41"/>
                  <a:pt x="191" y="41"/>
                  <a:pt x="191" y="41"/>
                </a:cubicBezTo>
                <a:lnTo>
                  <a:pt x="54" y="0"/>
                </a:lnTo>
                <a:close/>
                <a:moveTo>
                  <a:pt x="196" y="356"/>
                </a:moveTo>
                <a:cubicBezTo>
                  <a:pt x="207" y="337"/>
                  <a:pt x="207" y="337"/>
                  <a:pt x="207" y="337"/>
                </a:cubicBezTo>
                <a:cubicBezTo>
                  <a:pt x="161" y="311"/>
                  <a:pt x="161" y="311"/>
                  <a:pt x="161" y="311"/>
                </a:cubicBezTo>
                <a:cubicBezTo>
                  <a:pt x="157" y="308"/>
                  <a:pt x="153" y="305"/>
                  <a:pt x="150" y="302"/>
                </a:cubicBezTo>
                <a:cubicBezTo>
                  <a:pt x="145" y="311"/>
                  <a:pt x="145" y="311"/>
                  <a:pt x="145" y="311"/>
                </a:cubicBezTo>
                <a:cubicBezTo>
                  <a:pt x="133" y="332"/>
                  <a:pt x="140" y="358"/>
                  <a:pt x="161" y="370"/>
                </a:cubicBezTo>
                <a:cubicBezTo>
                  <a:pt x="168" y="374"/>
                  <a:pt x="176" y="376"/>
                  <a:pt x="183" y="376"/>
                </a:cubicBezTo>
                <a:cubicBezTo>
                  <a:pt x="185" y="376"/>
                  <a:pt x="187" y="376"/>
                  <a:pt x="188" y="376"/>
                </a:cubicBezTo>
                <a:cubicBezTo>
                  <a:pt x="190" y="369"/>
                  <a:pt x="192" y="362"/>
                  <a:pt x="196" y="356"/>
                </a:cubicBezTo>
                <a:close/>
                <a:moveTo>
                  <a:pt x="712" y="230"/>
                </a:moveTo>
                <a:cubicBezTo>
                  <a:pt x="664" y="75"/>
                  <a:pt x="664" y="75"/>
                  <a:pt x="664" y="75"/>
                </a:cubicBezTo>
                <a:cubicBezTo>
                  <a:pt x="659" y="61"/>
                  <a:pt x="646" y="50"/>
                  <a:pt x="630" y="50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97" y="21"/>
                  <a:pt x="497" y="21"/>
                  <a:pt x="497" y="21"/>
                </a:cubicBezTo>
                <a:cubicBezTo>
                  <a:pt x="418" y="4"/>
                  <a:pt x="418" y="4"/>
                  <a:pt x="418" y="4"/>
                </a:cubicBezTo>
                <a:cubicBezTo>
                  <a:pt x="417" y="4"/>
                  <a:pt x="417" y="4"/>
                  <a:pt x="416" y="4"/>
                </a:cubicBezTo>
                <a:cubicBezTo>
                  <a:pt x="416" y="4"/>
                  <a:pt x="416" y="4"/>
                  <a:pt x="416" y="4"/>
                </a:cubicBezTo>
                <a:cubicBezTo>
                  <a:pt x="415" y="4"/>
                  <a:pt x="414" y="4"/>
                  <a:pt x="414" y="4"/>
                </a:cubicBezTo>
                <a:cubicBezTo>
                  <a:pt x="409" y="3"/>
                  <a:pt x="409" y="3"/>
                  <a:pt x="409" y="3"/>
                </a:cubicBezTo>
                <a:cubicBezTo>
                  <a:pt x="409" y="3"/>
                  <a:pt x="409" y="3"/>
                  <a:pt x="409" y="3"/>
                </a:cubicBezTo>
                <a:cubicBezTo>
                  <a:pt x="408" y="3"/>
                  <a:pt x="406" y="3"/>
                  <a:pt x="404" y="3"/>
                </a:cubicBezTo>
                <a:cubicBezTo>
                  <a:pt x="387" y="3"/>
                  <a:pt x="369" y="12"/>
                  <a:pt x="360" y="28"/>
                </a:cubicBezTo>
                <a:cubicBezTo>
                  <a:pt x="319" y="99"/>
                  <a:pt x="319" y="99"/>
                  <a:pt x="319" y="99"/>
                </a:cubicBezTo>
                <a:cubicBezTo>
                  <a:pt x="305" y="124"/>
                  <a:pt x="313" y="155"/>
                  <a:pt x="338" y="169"/>
                </a:cubicBezTo>
                <a:cubicBezTo>
                  <a:pt x="346" y="174"/>
                  <a:pt x="355" y="176"/>
                  <a:pt x="363" y="176"/>
                </a:cubicBezTo>
                <a:cubicBezTo>
                  <a:pt x="381" y="176"/>
                  <a:pt x="398" y="167"/>
                  <a:pt x="408" y="150"/>
                </a:cubicBezTo>
                <a:cubicBezTo>
                  <a:pt x="448" y="80"/>
                  <a:pt x="448" y="80"/>
                  <a:pt x="448" y="80"/>
                </a:cubicBezTo>
                <a:cubicBezTo>
                  <a:pt x="634" y="178"/>
                  <a:pt x="634" y="178"/>
                  <a:pt x="634" y="178"/>
                </a:cubicBezTo>
                <a:cubicBezTo>
                  <a:pt x="643" y="182"/>
                  <a:pt x="650" y="189"/>
                  <a:pt x="656" y="198"/>
                </a:cubicBezTo>
                <a:cubicBezTo>
                  <a:pt x="657" y="199"/>
                  <a:pt x="658" y="201"/>
                  <a:pt x="660" y="204"/>
                </a:cubicBezTo>
                <a:cubicBezTo>
                  <a:pt x="660" y="205"/>
                  <a:pt x="661" y="206"/>
                  <a:pt x="662" y="207"/>
                </a:cubicBezTo>
                <a:cubicBezTo>
                  <a:pt x="699" y="269"/>
                  <a:pt x="699" y="269"/>
                  <a:pt x="699" y="269"/>
                </a:cubicBezTo>
                <a:cubicBezTo>
                  <a:pt x="711" y="260"/>
                  <a:pt x="716" y="244"/>
                  <a:pt x="712" y="23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80147" tIns="40074" rIns="80147" bIns="40074" numCol="1" anchor="t" anchorCtr="0" compatLnSpc="1">
            <a:prstTxWarp prst="textNoShape">
              <a:avLst/>
            </a:prstTxWarp>
          </a:bodyPr>
          <a:lstStyle/>
          <a:p>
            <a:endParaRPr lang="it-IT" dirty="0"/>
          </a:p>
        </p:txBody>
      </p:sp>
      <p:grpSp>
        <p:nvGrpSpPr>
          <p:cNvPr id="19" name="Group 18"/>
          <p:cNvGrpSpPr/>
          <p:nvPr/>
        </p:nvGrpSpPr>
        <p:grpSpPr>
          <a:xfrm>
            <a:off x="103470" y="110701"/>
            <a:ext cx="604611" cy="401017"/>
            <a:chOff x="4180114" y="89807"/>
            <a:chExt cx="604611" cy="401017"/>
          </a:xfrm>
        </p:grpSpPr>
        <p:sp>
          <p:nvSpPr>
            <p:cNvPr id="21" name="Rectangle 20"/>
            <p:cNvSpPr/>
            <p:nvPr/>
          </p:nvSpPr>
          <p:spPr>
            <a:xfrm>
              <a:off x="4180114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498975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180114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498975" y="311210"/>
              <a:ext cx="285750" cy="1796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535066" y="327538"/>
              <a:ext cx="18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36380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76"/>
          <p:cNvSpPr/>
          <p:nvPr/>
        </p:nvSpPr>
        <p:spPr>
          <a:xfrm>
            <a:off x="1051580" y="2073321"/>
            <a:ext cx="1852954" cy="9583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762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</a:pPr>
            <a:r>
              <a:rPr lang="it-IT" sz="1600" b="1" dirty="0" smtClean="0">
                <a:solidFill>
                  <a:schemeClr val="accent1"/>
                </a:solidFill>
              </a:rPr>
              <a:t>Flotte aziendali</a:t>
            </a:r>
          </a:p>
        </p:txBody>
      </p:sp>
      <p:pic>
        <p:nvPicPr>
          <p:cNvPr id="1053785" name="Picture 89" descr="Risultati immagini per colonnine ricarica enel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3680" y="2228481"/>
            <a:ext cx="1518936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/>
          <p:cNvSpPr/>
          <p:nvPr/>
        </p:nvSpPr>
        <p:spPr>
          <a:xfrm>
            <a:off x="1051580" y="4735346"/>
            <a:ext cx="1852954" cy="9583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762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</a:pPr>
            <a:r>
              <a:rPr lang="it-IT" sz="1600" b="1" dirty="0" smtClean="0">
                <a:solidFill>
                  <a:schemeClr val="accent1"/>
                </a:solidFill>
              </a:rPr>
              <a:t>e-Bu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980214" y="2164971"/>
            <a:ext cx="6238117" cy="775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2000" dirty="0" smtClean="0">
                <a:solidFill>
                  <a:schemeClr val="tx1"/>
                </a:solidFill>
              </a:rPr>
              <a:t>Flotta </a:t>
            </a:r>
            <a:r>
              <a:rPr lang="it-IT" sz="2000" dirty="0" err="1" smtClean="0">
                <a:solidFill>
                  <a:schemeClr val="tx1"/>
                </a:solidFill>
              </a:rPr>
              <a:t>enel</a:t>
            </a:r>
            <a:r>
              <a:rPr lang="it-IT" sz="2000" dirty="0" smtClean="0">
                <a:solidFill>
                  <a:schemeClr val="tx1"/>
                </a:solidFill>
              </a:rPr>
              <a:t> fino a </a:t>
            </a:r>
            <a:r>
              <a:rPr lang="it-IT" sz="2000" b="1" dirty="0" smtClean="0">
                <a:solidFill>
                  <a:schemeClr val="accent1"/>
                </a:solidFill>
              </a:rPr>
              <a:t>1.400 auto</a:t>
            </a:r>
            <a:r>
              <a:rPr lang="it-IT" sz="2000" dirty="0" smtClean="0">
                <a:solidFill>
                  <a:schemeClr val="accent1"/>
                </a:solidFill>
              </a:rPr>
              <a:t> </a:t>
            </a:r>
            <a:r>
              <a:rPr lang="it-IT" sz="2000" dirty="0" smtClean="0">
                <a:solidFill>
                  <a:schemeClr val="tx1"/>
                </a:solidFill>
              </a:rPr>
              <a:t>fino alla fine del  2019</a:t>
            </a:r>
          </a:p>
        </p:txBody>
      </p:sp>
      <p:sp>
        <p:nvSpPr>
          <p:cNvPr id="31" name="Title 2"/>
          <p:cNvSpPr>
            <a:spLocks noGrp="1"/>
          </p:cNvSpPr>
          <p:nvPr>
            <p:ph type="title"/>
          </p:nvPr>
        </p:nvSpPr>
        <p:spPr>
          <a:xfrm>
            <a:off x="761999" y="670121"/>
            <a:ext cx="8039101" cy="394980"/>
          </a:xfrm>
        </p:spPr>
        <p:txBody>
          <a:bodyPr>
            <a:normAutofit/>
          </a:bodyPr>
          <a:lstStyle/>
          <a:p>
            <a:r>
              <a:rPr lang="it-IT" dirty="0" smtClean="0"/>
              <a:t>Promuoviamo sistemi integrati di mobilità elettrica in ambito aziendale e pubblico</a:t>
            </a:r>
            <a:endParaRPr lang="it-IT" dirty="0"/>
          </a:p>
        </p:txBody>
      </p:sp>
      <p:sp>
        <p:nvSpPr>
          <p:cNvPr id="27" name="Rectangle 26"/>
          <p:cNvSpPr/>
          <p:nvPr/>
        </p:nvSpPr>
        <p:spPr>
          <a:xfrm>
            <a:off x="1051580" y="3404334"/>
            <a:ext cx="1852954" cy="9583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762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00"/>
              </a:spcAft>
            </a:pPr>
            <a:r>
              <a:rPr lang="it-IT" sz="1600" b="1" dirty="0" smtClean="0">
                <a:solidFill>
                  <a:schemeClr val="accent1"/>
                </a:solidFill>
              </a:rPr>
              <a:t>e-Taxi</a:t>
            </a:r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37556" y="3523312"/>
            <a:ext cx="1271184" cy="762711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4980216" y="3495984"/>
            <a:ext cx="6238117" cy="775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2000" b="1" dirty="0" smtClean="0">
                <a:solidFill>
                  <a:schemeClr val="accent1"/>
                </a:solidFill>
              </a:rPr>
              <a:t>75</a:t>
            </a:r>
            <a:r>
              <a:rPr lang="it-IT" sz="2000" b="1" dirty="0" smtClean="0">
                <a:solidFill>
                  <a:schemeClr val="tx1"/>
                </a:solidFill>
              </a:rPr>
              <a:t> </a:t>
            </a:r>
            <a:r>
              <a:rPr lang="it-IT" sz="2000" b="1" dirty="0" smtClean="0">
                <a:solidFill>
                  <a:schemeClr val="accent1"/>
                </a:solidFill>
              </a:rPr>
              <a:t>taxi</a:t>
            </a:r>
            <a:r>
              <a:rPr lang="it-IT" sz="2000" dirty="0" smtClean="0">
                <a:solidFill>
                  <a:schemeClr val="tx1"/>
                </a:solidFill>
              </a:rPr>
              <a:t> elettrici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980214" y="4826996"/>
            <a:ext cx="6238117" cy="775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2000" b="1" dirty="0" smtClean="0">
                <a:solidFill>
                  <a:schemeClr val="accent1"/>
                </a:solidFill>
              </a:rPr>
              <a:t>4 bus </a:t>
            </a:r>
            <a:r>
              <a:rPr lang="it-IT" sz="2000" dirty="0" smtClean="0">
                <a:solidFill>
                  <a:schemeClr val="tx1"/>
                </a:solidFill>
              </a:rPr>
              <a:t>elettrici e </a:t>
            </a:r>
            <a:r>
              <a:rPr lang="it-IT" sz="2000" b="1" dirty="0" smtClean="0">
                <a:solidFill>
                  <a:schemeClr val="accent1"/>
                </a:solidFill>
              </a:rPr>
              <a:t>3</a:t>
            </a:r>
            <a:r>
              <a:rPr lang="it-IT" sz="2000" dirty="0" smtClean="0">
                <a:solidFill>
                  <a:schemeClr val="accent1"/>
                </a:solidFill>
              </a:rPr>
              <a:t> </a:t>
            </a:r>
            <a:r>
              <a:rPr lang="it-IT" sz="2000" b="1" dirty="0" smtClean="0">
                <a:solidFill>
                  <a:schemeClr val="accent1"/>
                </a:solidFill>
              </a:rPr>
              <a:t>linee</a:t>
            </a:r>
            <a:r>
              <a:rPr lang="it-IT" sz="2000" dirty="0" smtClean="0">
                <a:solidFill>
                  <a:schemeClr val="tx1"/>
                </a:solidFill>
              </a:rPr>
              <a:t> dedicate</a:t>
            </a:r>
          </a:p>
        </p:txBody>
      </p:sp>
      <p:pic>
        <p:nvPicPr>
          <p:cNvPr id="13" name="Imagen 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8132" y="4769828"/>
            <a:ext cx="1350031" cy="8893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103470" y="110701"/>
            <a:ext cx="604611" cy="401017"/>
            <a:chOff x="4180114" y="89807"/>
            <a:chExt cx="604611" cy="401017"/>
          </a:xfrm>
        </p:grpSpPr>
        <p:sp>
          <p:nvSpPr>
            <p:cNvPr id="16" name="Rectangle 15"/>
            <p:cNvSpPr/>
            <p:nvPr/>
          </p:nvSpPr>
          <p:spPr>
            <a:xfrm>
              <a:off x="4180114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498975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180114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498975" y="311210"/>
              <a:ext cx="285750" cy="1796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535066" y="327538"/>
              <a:ext cx="18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3947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b="1" dirty="0" smtClean="0"/>
              <a:t>Un’opportunità di sviluppo industriale per il Sistema Italia!</a:t>
            </a:r>
            <a:endParaRPr lang="it-IT" b="1" dirty="0"/>
          </a:p>
        </p:txBody>
      </p:sp>
      <p:sp>
        <p:nvSpPr>
          <p:cNvPr id="5" name="Pentagono 33"/>
          <p:cNvSpPr/>
          <p:nvPr/>
        </p:nvSpPr>
        <p:spPr>
          <a:xfrm>
            <a:off x="1194790" y="1763911"/>
            <a:ext cx="5039901" cy="1848762"/>
          </a:xfrm>
          <a:prstGeom prst="homePlate">
            <a:avLst>
              <a:gd name="adj" fmla="val 22179"/>
            </a:avLst>
          </a:prstGeom>
          <a:solidFill>
            <a:schemeClr val="accent1"/>
          </a:solidFill>
          <a:ln w="12700">
            <a:gradFill flip="none" rotWithShape="1">
              <a:gsLst>
                <a:gs pos="57000">
                  <a:schemeClr val="bg1">
                    <a:alpha val="0"/>
                  </a:schemeClr>
                </a:gs>
                <a:gs pos="24560">
                  <a:schemeClr val="bg1">
                    <a:alpha val="0"/>
                  </a:schemeClr>
                </a:gs>
                <a:gs pos="14000">
                  <a:schemeClr val="bg1"/>
                </a:gs>
                <a:gs pos="100000">
                  <a:schemeClr val="accent2">
                    <a:lumMod val="40000"/>
                    <a:lumOff val="60000"/>
                  </a:schemeClr>
                </a:gs>
              </a:gsLst>
              <a:lin ang="4200000" scaled="0"/>
              <a:tileRect/>
            </a:gradFill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t"/>
          <a:lstStyle/>
          <a:p>
            <a:pPr algn="ctr" defTabSz="412750" hangingPunct="0"/>
            <a:endParaRPr lang="it-IT" sz="2000" b="1" kern="0" dirty="0">
              <a:latin typeface="Univers LT Std 65 Bold"/>
              <a:sym typeface="Univers LT Std 65 Bold"/>
            </a:endParaRPr>
          </a:p>
          <a:p>
            <a:pPr algn="ctr" defTabSz="412750" hangingPunct="0"/>
            <a:r>
              <a:rPr lang="it-IT" sz="2000" b="1" kern="0" dirty="0">
                <a:solidFill>
                  <a:schemeClr val="bg1"/>
                </a:solidFill>
                <a:latin typeface="Univers LT Std 65 Bold"/>
                <a:sym typeface="Univers LT Std 65 Bold"/>
              </a:rPr>
              <a:t>Produzione</a:t>
            </a:r>
          </a:p>
        </p:txBody>
      </p:sp>
      <p:sp>
        <p:nvSpPr>
          <p:cNvPr id="6" name="Rettangolo 34"/>
          <p:cNvSpPr/>
          <p:nvPr/>
        </p:nvSpPr>
        <p:spPr>
          <a:xfrm>
            <a:off x="6091812" y="1763911"/>
            <a:ext cx="5039901" cy="1848761"/>
          </a:xfrm>
          <a:prstGeom prst="chevron">
            <a:avLst>
              <a:gd name="adj" fmla="val 22621"/>
            </a:avLst>
          </a:prstGeom>
          <a:solidFill>
            <a:schemeClr val="accent1"/>
          </a:solidFill>
          <a:ln w="12700">
            <a:gradFill flip="none" rotWithShape="1">
              <a:gsLst>
                <a:gs pos="57000">
                  <a:schemeClr val="bg1">
                    <a:alpha val="0"/>
                  </a:schemeClr>
                </a:gs>
                <a:gs pos="24560">
                  <a:schemeClr val="bg1">
                    <a:alpha val="0"/>
                  </a:schemeClr>
                </a:gs>
                <a:gs pos="14000">
                  <a:schemeClr val="bg1"/>
                </a:gs>
                <a:gs pos="100000">
                  <a:schemeClr val="accent2">
                    <a:lumMod val="40000"/>
                    <a:lumOff val="60000"/>
                  </a:schemeClr>
                </a:gs>
              </a:gsLst>
              <a:lin ang="4200000" scaled="0"/>
              <a:tileRect/>
            </a:gradFill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t"/>
          <a:lstStyle/>
          <a:p>
            <a:pPr algn="ctr" defTabSz="412750" hangingPunct="0"/>
            <a:endParaRPr lang="it-IT" sz="2000" b="1" kern="0" dirty="0">
              <a:latin typeface="Univers LT Std 65 Bold"/>
              <a:sym typeface="Helvetica Light"/>
            </a:endParaRPr>
          </a:p>
          <a:p>
            <a:pPr algn="ctr" defTabSz="412750" hangingPunct="0"/>
            <a:r>
              <a:rPr lang="it-IT" sz="2000" b="1" kern="0" dirty="0">
                <a:solidFill>
                  <a:schemeClr val="bg1"/>
                </a:solidFill>
                <a:latin typeface="Univers LT Std 65 Bold"/>
                <a:sym typeface="Helvetica Light"/>
              </a:rPr>
              <a:t>Installazione e Manutenzione</a:t>
            </a:r>
          </a:p>
        </p:txBody>
      </p:sp>
      <p:sp>
        <p:nvSpPr>
          <p:cNvPr id="7" name="Rettangolo 37"/>
          <p:cNvSpPr/>
          <p:nvPr/>
        </p:nvSpPr>
        <p:spPr>
          <a:xfrm>
            <a:off x="2040881" y="2553510"/>
            <a:ext cx="334771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50"/>
              </a:lnSpc>
              <a:defRPr/>
            </a:pPr>
            <a:r>
              <a:rPr lang="it-IT" sz="1400" kern="0" spc="118" dirty="0">
                <a:solidFill>
                  <a:schemeClr val="accent1">
                    <a:lumMod val="20000"/>
                    <a:lumOff val="80000"/>
                  </a:schemeClr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Imprese specializzate nei settori della Meccatronica, Automazione, Produzione Inverter, Quadri ed altri </a:t>
            </a:r>
            <a:r>
              <a:rPr lang="it-IT" sz="1400" kern="0" spc="118" dirty="0" err="1">
                <a:solidFill>
                  <a:schemeClr val="accent1">
                    <a:lumMod val="20000"/>
                    <a:lumOff val="80000"/>
                  </a:schemeClr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Equipment</a:t>
            </a:r>
            <a:r>
              <a:rPr lang="it-IT" sz="1400" kern="0" spc="118" dirty="0">
                <a:solidFill>
                  <a:schemeClr val="accent1">
                    <a:lumMod val="20000"/>
                    <a:lumOff val="80000"/>
                  </a:schemeClr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 Elettrici</a:t>
            </a:r>
          </a:p>
        </p:txBody>
      </p:sp>
      <p:sp>
        <p:nvSpPr>
          <p:cNvPr id="8" name="Rettangolo 38"/>
          <p:cNvSpPr/>
          <p:nvPr/>
        </p:nvSpPr>
        <p:spPr>
          <a:xfrm>
            <a:off x="7140300" y="2679968"/>
            <a:ext cx="2942925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50"/>
              </a:lnSpc>
            </a:pPr>
            <a:r>
              <a:rPr lang="it-IT" sz="1400" kern="0" spc="118" dirty="0">
                <a:solidFill>
                  <a:schemeClr val="accent1">
                    <a:lumMod val="20000"/>
                    <a:lumOff val="80000"/>
                  </a:schemeClr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Imprese di medie dimensioni  specializzate in lavori elettrici e piccole opere civili</a:t>
            </a:r>
          </a:p>
        </p:txBody>
      </p:sp>
      <p:pic>
        <p:nvPicPr>
          <p:cNvPr id="10" name="Immagin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487" y="3505798"/>
            <a:ext cx="1733034" cy="2660319"/>
          </a:xfrm>
          <a:prstGeom prst="rect">
            <a:avLst/>
          </a:prstGeom>
        </p:spPr>
      </p:pic>
      <p:sp>
        <p:nvSpPr>
          <p:cNvPr id="12" name="Rettangolo arrotondato 29"/>
          <p:cNvSpPr/>
          <p:nvPr/>
        </p:nvSpPr>
        <p:spPr>
          <a:xfrm>
            <a:off x="2178983" y="3910738"/>
            <a:ext cx="6116605" cy="225537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square" lIns="25400" tIns="25400" rIns="25400" bIns="25400" numCol="1" anchor="ctr">
            <a:noAutofit/>
          </a:bodyPr>
          <a:lstStyle/>
          <a:p>
            <a:pPr defTabSz="412750" hangingPunct="0">
              <a:lnSpc>
                <a:spcPts val="2500"/>
              </a:lnSpc>
            </a:pPr>
            <a:r>
              <a:rPr lang="it-IT" sz="1400" kern="0" dirty="0">
                <a:sym typeface="Helvetica Light"/>
              </a:rPr>
              <a:t>~</a:t>
            </a:r>
            <a:r>
              <a:rPr lang="it-IT" sz="1400" b="1" kern="0" dirty="0">
                <a:sym typeface="Helvetica Light"/>
              </a:rPr>
              <a:t>2.000.000 ore </a:t>
            </a:r>
            <a:r>
              <a:rPr lang="it-IT" sz="1400" kern="0" dirty="0">
                <a:sym typeface="Helvetica Light"/>
              </a:rPr>
              <a:t>di lavoro</a:t>
            </a:r>
          </a:p>
          <a:p>
            <a:pPr defTabSz="412750" hangingPunct="0">
              <a:lnSpc>
                <a:spcPts val="2500"/>
              </a:lnSpc>
            </a:pPr>
            <a:endParaRPr lang="it-IT" sz="1400" kern="0" dirty="0">
              <a:sym typeface="Helvetica Light"/>
            </a:endParaRPr>
          </a:p>
          <a:p>
            <a:pPr defTabSz="412750" hangingPunct="0">
              <a:lnSpc>
                <a:spcPts val="2500"/>
              </a:lnSpc>
            </a:pPr>
            <a:r>
              <a:rPr lang="it-IT" sz="1400" kern="0" dirty="0">
                <a:sym typeface="Helvetica Light"/>
              </a:rPr>
              <a:t>~ </a:t>
            </a:r>
            <a:r>
              <a:rPr lang="it-IT" sz="1400" b="1" kern="0" dirty="0">
                <a:sym typeface="Helvetica Light"/>
              </a:rPr>
              <a:t>50 imprese </a:t>
            </a:r>
            <a:r>
              <a:rPr lang="it-IT" sz="1400" kern="0" dirty="0">
                <a:sym typeface="Helvetica Light"/>
              </a:rPr>
              <a:t>selezionate e da selezionare attraverso processi competitivi</a:t>
            </a:r>
          </a:p>
          <a:p>
            <a:pPr marL="644525" lvl="4" indent="-285750">
              <a:lnSpc>
                <a:spcPts val="2500"/>
              </a:lnSpc>
              <a:buFont typeface="Wingdings" panose="05000000000000000000" pitchFamily="2" charset="2"/>
              <a:buChar char="§"/>
              <a:defRPr/>
            </a:pPr>
            <a:r>
              <a:rPr lang="it-IT" sz="1400" kern="0" dirty="0" smtClean="0">
                <a:sym typeface="Helvetica Light"/>
              </a:rPr>
              <a:t>Gara Installazione e Manutenzione: Dicembre 2017</a:t>
            </a:r>
          </a:p>
          <a:p>
            <a:pPr marL="644525" lvl="4" indent="-285750">
              <a:lnSpc>
                <a:spcPts val="2500"/>
              </a:lnSpc>
              <a:buFont typeface="Wingdings" panose="05000000000000000000" pitchFamily="2" charset="2"/>
              <a:buChar char="§"/>
              <a:defRPr/>
            </a:pPr>
            <a:r>
              <a:rPr lang="it-IT" sz="1400" kern="0" dirty="0" smtClean="0">
                <a:sym typeface="Helvetica Light"/>
              </a:rPr>
              <a:t>Gara Fornitura: Marzo 2018</a:t>
            </a:r>
            <a:endParaRPr lang="it-IT" sz="1400" kern="0" dirty="0">
              <a:sym typeface="Helvetica Light"/>
            </a:endParaRPr>
          </a:p>
          <a:p>
            <a:pPr marL="0" lvl="4">
              <a:lnSpc>
                <a:spcPts val="2500"/>
              </a:lnSpc>
              <a:defRPr/>
            </a:pPr>
            <a:endParaRPr lang="it-IT" sz="1400" kern="0" dirty="0">
              <a:sym typeface="Helvetica Light"/>
            </a:endParaRPr>
          </a:p>
          <a:p>
            <a:pPr defTabSz="412750" hangingPunct="0">
              <a:lnSpc>
                <a:spcPts val="2500"/>
              </a:lnSpc>
            </a:pPr>
            <a:r>
              <a:rPr lang="it-IT" sz="1400" b="1" kern="0" dirty="0">
                <a:sym typeface="Helvetica Light"/>
              </a:rPr>
              <a:t>~200M</a:t>
            </a:r>
            <a:r>
              <a:rPr lang="it-IT" sz="1400" b="1" kern="0" dirty="0" smtClean="0">
                <a:sym typeface="Helvetica Light"/>
              </a:rPr>
              <a:t>€ investimento</a:t>
            </a:r>
            <a:endParaRPr lang="it-IT" sz="1400" b="1" kern="0" dirty="0">
              <a:sym typeface="Helvetica Light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9697" y="4342374"/>
            <a:ext cx="517436" cy="212258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81577" y="3880291"/>
            <a:ext cx="768163" cy="566977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41555" y="4614720"/>
            <a:ext cx="847417" cy="847417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64068" y="5660610"/>
            <a:ext cx="695004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035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071813" y="1160463"/>
            <a:ext cx="4745531" cy="349581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sz="4800" dirty="0"/>
              <a:t/>
            </a:r>
            <a:br>
              <a:rPr lang="en-US" sz="4800" dirty="0"/>
            </a:br>
            <a:r>
              <a:rPr lang="en-US" sz="5400" dirty="0" smtClean="0"/>
              <a:t/>
            </a:r>
            <a:br>
              <a:rPr lang="en-US" sz="5400" dirty="0" smtClean="0"/>
            </a:br>
            <a:r>
              <a:rPr lang="en-US" sz="5400" dirty="0" smtClean="0"/>
              <a:t/>
            </a:r>
            <a:br>
              <a:rPr lang="en-US" sz="5400" dirty="0" smtClean="0"/>
            </a:br>
            <a:r>
              <a:rPr lang="en-US" sz="5400" b="1" dirty="0" smtClean="0"/>
              <a:t>Grazie</a:t>
            </a:r>
            <a:endParaRPr lang="en-US" sz="54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9" name="Picture 6" descr="D:\Users\a247239\Desktop\Archivio Progetti\Materiali Mobilità Elettrica\Publishing Presentazioni Stampa\Archivio Foto\Varia\leaf-car-key-fob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21115506">
            <a:off x="5830129" y="2446887"/>
            <a:ext cx="3548907" cy="269741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45953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it-IT" sz="1000" smtClean="0"/>
              <a:pPr/>
              <a:t>2</a:t>
            </a:fld>
            <a:endParaRPr lang="it-IT" sz="1000" dirty="0"/>
          </a:p>
        </p:txBody>
      </p:sp>
      <p:sp>
        <p:nvSpPr>
          <p:cNvPr id="31" name="Segnaposto testo 3"/>
          <p:cNvSpPr>
            <a:spLocks noGrp="1"/>
          </p:cNvSpPr>
          <p:nvPr>
            <p:ph type="body" sz="quarter" idx="13"/>
          </p:nvPr>
        </p:nvSpPr>
        <p:spPr/>
        <p:txBody>
          <a:bodyPr anchor="ctr"/>
          <a:lstStyle/>
          <a:p>
            <a:r>
              <a:rPr lang="it-IT" sz="1600" dirty="0" smtClean="0"/>
              <a:t>Complesso, decentralizzato e con numerose risorse rinnovabili da gestire</a:t>
            </a:r>
            <a:endParaRPr lang="it-IT" sz="160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r>
              <a:rPr lang="it-IT" b="1" dirty="0" smtClean="0"/>
              <a:t>Il nuovo ecosistema energetico</a:t>
            </a:r>
            <a:endParaRPr lang="it-IT" b="1" dirty="0"/>
          </a:p>
        </p:txBody>
      </p:sp>
      <p:sp>
        <p:nvSpPr>
          <p:cNvPr id="33" name="Freeform 38"/>
          <p:cNvSpPr/>
          <p:nvPr/>
        </p:nvSpPr>
        <p:spPr bwMode="auto">
          <a:xfrm rot="3058099">
            <a:off x="4735736" y="2851462"/>
            <a:ext cx="587334" cy="382676"/>
          </a:xfrm>
          <a:custGeom>
            <a:avLst/>
            <a:gdLst>
              <a:gd name="connsiteX0" fmla="*/ 0 w 1109878"/>
              <a:gd name="connsiteY0" fmla="*/ 886470 h 886470"/>
              <a:gd name="connsiteX1" fmla="*/ 125269 w 1109878"/>
              <a:gd name="connsiteY1" fmla="*/ 443235 h 886470"/>
              <a:gd name="connsiteX2" fmla="*/ 0 w 1109878"/>
              <a:gd name="connsiteY2" fmla="*/ 0 h 886470"/>
              <a:gd name="connsiteX3" fmla="*/ 626194 w 1109878"/>
              <a:gd name="connsiteY3" fmla="*/ 0 h 886470"/>
              <a:gd name="connsiteX4" fmla="*/ 626195 w 1109878"/>
              <a:gd name="connsiteY4" fmla="*/ 1 h 886470"/>
              <a:gd name="connsiteX5" fmla="*/ 741986 w 1109878"/>
              <a:gd name="connsiteY5" fmla="*/ 1 h 886470"/>
              <a:gd name="connsiteX6" fmla="*/ 1109878 w 1109878"/>
              <a:gd name="connsiteY6" fmla="*/ 443236 h 886470"/>
              <a:gd name="connsiteX7" fmla="*/ 741986 w 1109878"/>
              <a:gd name="connsiteY7" fmla="*/ 886470 h 886470"/>
              <a:gd name="connsiteX8" fmla="*/ 374093 w 1109878"/>
              <a:gd name="connsiteY8" fmla="*/ 886470 h 886470"/>
              <a:gd name="connsiteX9" fmla="*/ 374093 w 1109878"/>
              <a:gd name="connsiteY9" fmla="*/ 886470 h 886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878" h="886470">
                <a:moveTo>
                  <a:pt x="0" y="886470"/>
                </a:moveTo>
                <a:cubicBezTo>
                  <a:pt x="69210" y="886470"/>
                  <a:pt x="125269" y="687989"/>
                  <a:pt x="125269" y="443235"/>
                </a:cubicBezTo>
                <a:cubicBezTo>
                  <a:pt x="125269" y="198481"/>
                  <a:pt x="69210" y="0"/>
                  <a:pt x="0" y="0"/>
                </a:cubicBezTo>
                <a:lnTo>
                  <a:pt x="626194" y="0"/>
                </a:lnTo>
                <a:lnTo>
                  <a:pt x="626195" y="1"/>
                </a:lnTo>
                <a:lnTo>
                  <a:pt x="741986" y="1"/>
                </a:lnTo>
                <a:lnTo>
                  <a:pt x="1109878" y="443236"/>
                </a:lnTo>
                <a:lnTo>
                  <a:pt x="741986" y="886470"/>
                </a:lnTo>
                <a:lnTo>
                  <a:pt x="374093" y="886470"/>
                </a:lnTo>
                <a:lnTo>
                  <a:pt x="374093" y="8864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solidFill>
              <a:srgbClr val="1163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05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4" name="Block Arc 39"/>
          <p:cNvSpPr/>
          <p:nvPr/>
        </p:nvSpPr>
        <p:spPr>
          <a:xfrm rot="5400000">
            <a:off x="4279078" y="1159626"/>
            <a:ext cx="3121489" cy="5408966"/>
          </a:xfrm>
          <a:prstGeom prst="blockArc">
            <a:avLst>
              <a:gd name="adj1" fmla="val 11248871"/>
              <a:gd name="adj2" fmla="val 10251756"/>
              <a:gd name="adj3" fmla="val 3785"/>
            </a:avLst>
          </a:prstGeom>
          <a:solidFill>
            <a:schemeClr val="accent1"/>
          </a:solidFill>
          <a:ln>
            <a:solidFill>
              <a:srgbClr val="116382"/>
            </a:solidFill>
          </a:ln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it-IT" sz="1050" dirty="0"/>
          </a:p>
        </p:txBody>
      </p:sp>
      <p:sp>
        <p:nvSpPr>
          <p:cNvPr id="35" name="Oval 40"/>
          <p:cNvSpPr/>
          <p:nvPr/>
        </p:nvSpPr>
        <p:spPr>
          <a:xfrm>
            <a:off x="5305216" y="3295660"/>
            <a:ext cx="1083582" cy="1057800"/>
          </a:xfrm>
          <a:prstGeom prst="ellipse">
            <a:avLst/>
          </a:prstGeom>
          <a:noFill/>
          <a:ln w="381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it-IT" sz="1050" dirty="0"/>
          </a:p>
        </p:txBody>
      </p:sp>
      <p:sp>
        <p:nvSpPr>
          <p:cNvPr id="36" name="Freeform 41"/>
          <p:cNvSpPr/>
          <p:nvPr/>
        </p:nvSpPr>
        <p:spPr bwMode="auto">
          <a:xfrm rot="18541901" flipH="1">
            <a:off x="6341454" y="2852561"/>
            <a:ext cx="587160" cy="381449"/>
          </a:xfrm>
          <a:custGeom>
            <a:avLst/>
            <a:gdLst>
              <a:gd name="connsiteX0" fmla="*/ 0 w 1109878"/>
              <a:gd name="connsiteY0" fmla="*/ 886470 h 886470"/>
              <a:gd name="connsiteX1" fmla="*/ 125269 w 1109878"/>
              <a:gd name="connsiteY1" fmla="*/ 443235 h 886470"/>
              <a:gd name="connsiteX2" fmla="*/ 0 w 1109878"/>
              <a:gd name="connsiteY2" fmla="*/ 0 h 886470"/>
              <a:gd name="connsiteX3" fmla="*/ 626194 w 1109878"/>
              <a:gd name="connsiteY3" fmla="*/ 0 h 886470"/>
              <a:gd name="connsiteX4" fmla="*/ 626195 w 1109878"/>
              <a:gd name="connsiteY4" fmla="*/ 1 h 886470"/>
              <a:gd name="connsiteX5" fmla="*/ 741986 w 1109878"/>
              <a:gd name="connsiteY5" fmla="*/ 1 h 886470"/>
              <a:gd name="connsiteX6" fmla="*/ 1109878 w 1109878"/>
              <a:gd name="connsiteY6" fmla="*/ 443236 h 886470"/>
              <a:gd name="connsiteX7" fmla="*/ 741986 w 1109878"/>
              <a:gd name="connsiteY7" fmla="*/ 886470 h 886470"/>
              <a:gd name="connsiteX8" fmla="*/ 374093 w 1109878"/>
              <a:gd name="connsiteY8" fmla="*/ 886470 h 886470"/>
              <a:gd name="connsiteX9" fmla="*/ 374093 w 1109878"/>
              <a:gd name="connsiteY9" fmla="*/ 886470 h 886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878" h="886470">
                <a:moveTo>
                  <a:pt x="0" y="886470"/>
                </a:moveTo>
                <a:cubicBezTo>
                  <a:pt x="69210" y="886470"/>
                  <a:pt x="125269" y="687989"/>
                  <a:pt x="125269" y="443235"/>
                </a:cubicBezTo>
                <a:cubicBezTo>
                  <a:pt x="125269" y="198481"/>
                  <a:pt x="69210" y="0"/>
                  <a:pt x="0" y="0"/>
                </a:cubicBezTo>
                <a:lnTo>
                  <a:pt x="626194" y="0"/>
                </a:lnTo>
                <a:lnTo>
                  <a:pt x="626195" y="1"/>
                </a:lnTo>
                <a:lnTo>
                  <a:pt x="741986" y="1"/>
                </a:lnTo>
                <a:lnTo>
                  <a:pt x="1109878" y="443236"/>
                </a:lnTo>
                <a:lnTo>
                  <a:pt x="741986" y="886470"/>
                </a:lnTo>
                <a:lnTo>
                  <a:pt x="374093" y="886470"/>
                </a:lnTo>
                <a:lnTo>
                  <a:pt x="374093" y="8864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solidFill>
              <a:srgbClr val="1163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05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7" name="Freeform 42"/>
          <p:cNvSpPr/>
          <p:nvPr/>
        </p:nvSpPr>
        <p:spPr bwMode="auto">
          <a:xfrm rot="3058099" flipH="1" flipV="1">
            <a:off x="6341931" y="4503645"/>
            <a:ext cx="587160" cy="382676"/>
          </a:xfrm>
          <a:custGeom>
            <a:avLst/>
            <a:gdLst>
              <a:gd name="connsiteX0" fmla="*/ 0 w 1109878"/>
              <a:gd name="connsiteY0" fmla="*/ 886470 h 886470"/>
              <a:gd name="connsiteX1" fmla="*/ 125269 w 1109878"/>
              <a:gd name="connsiteY1" fmla="*/ 443235 h 886470"/>
              <a:gd name="connsiteX2" fmla="*/ 0 w 1109878"/>
              <a:gd name="connsiteY2" fmla="*/ 0 h 886470"/>
              <a:gd name="connsiteX3" fmla="*/ 626194 w 1109878"/>
              <a:gd name="connsiteY3" fmla="*/ 0 h 886470"/>
              <a:gd name="connsiteX4" fmla="*/ 626195 w 1109878"/>
              <a:gd name="connsiteY4" fmla="*/ 1 h 886470"/>
              <a:gd name="connsiteX5" fmla="*/ 741986 w 1109878"/>
              <a:gd name="connsiteY5" fmla="*/ 1 h 886470"/>
              <a:gd name="connsiteX6" fmla="*/ 1109878 w 1109878"/>
              <a:gd name="connsiteY6" fmla="*/ 443236 h 886470"/>
              <a:gd name="connsiteX7" fmla="*/ 741986 w 1109878"/>
              <a:gd name="connsiteY7" fmla="*/ 886470 h 886470"/>
              <a:gd name="connsiteX8" fmla="*/ 374093 w 1109878"/>
              <a:gd name="connsiteY8" fmla="*/ 886470 h 886470"/>
              <a:gd name="connsiteX9" fmla="*/ 374093 w 1109878"/>
              <a:gd name="connsiteY9" fmla="*/ 886470 h 886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878" h="886470">
                <a:moveTo>
                  <a:pt x="0" y="886470"/>
                </a:moveTo>
                <a:cubicBezTo>
                  <a:pt x="69210" y="886470"/>
                  <a:pt x="125269" y="687989"/>
                  <a:pt x="125269" y="443235"/>
                </a:cubicBezTo>
                <a:cubicBezTo>
                  <a:pt x="125269" y="198481"/>
                  <a:pt x="69210" y="0"/>
                  <a:pt x="0" y="0"/>
                </a:cubicBezTo>
                <a:lnTo>
                  <a:pt x="626194" y="0"/>
                </a:lnTo>
                <a:lnTo>
                  <a:pt x="626195" y="1"/>
                </a:lnTo>
                <a:lnTo>
                  <a:pt x="741986" y="1"/>
                </a:lnTo>
                <a:lnTo>
                  <a:pt x="1109878" y="443236"/>
                </a:lnTo>
                <a:lnTo>
                  <a:pt x="741986" y="886470"/>
                </a:lnTo>
                <a:lnTo>
                  <a:pt x="374093" y="886470"/>
                </a:lnTo>
                <a:lnTo>
                  <a:pt x="374093" y="8864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solidFill>
              <a:srgbClr val="1163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05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8" name="Freeform 43"/>
          <p:cNvSpPr/>
          <p:nvPr/>
        </p:nvSpPr>
        <p:spPr bwMode="auto">
          <a:xfrm rot="18541901" flipV="1">
            <a:off x="4735736" y="4503578"/>
            <a:ext cx="587334" cy="382676"/>
          </a:xfrm>
          <a:custGeom>
            <a:avLst/>
            <a:gdLst>
              <a:gd name="connsiteX0" fmla="*/ 0 w 1109878"/>
              <a:gd name="connsiteY0" fmla="*/ 886470 h 886470"/>
              <a:gd name="connsiteX1" fmla="*/ 125269 w 1109878"/>
              <a:gd name="connsiteY1" fmla="*/ 443235 h 886470"/>
              <a:gd name="connsiteX2" fmla="*/ 0 w 1109878"/>
              <a:gd name="connsiteY2" fmla="*/ 0 h 886470"/>
              <a:gd name="connsiteX3" fmla="*/ 626194 w 1109878"/>
              <a:gd name="connsiteY3" fmla="*/ 0 h 886470"/>
              <a:gd name="connsiteX4" fmla="*/ 626195 w 1109878"/>
              <a:gd name="connsiteY4" fmla="*/ 1 h 886470"/>
              <a:gd name="connsiteX5" fmla="*/ 741986 w 1109878"/>
              <a:gd name="connsiteY5" fmla="*/ 1 h 886470"/>
              <a:gd name="connsiteX6" fmla="*/ 1109878 w 1109878"/>
              <a:gd name="connsiteY6" fmla="*/ 443236 h 886470"/>
              <a:gd name="connsiteX7" fmla="*/ 741986 w 1109878"/>
              <a:gd name="connsiteY7" fmla="*/ 886470 h 886470"/>
              <a:gd name="connsiteX8" fmla="*/ 374093 w 1109878"/>
              <a:gd name="connsiteY8" fmla="*/ 886470 h 886470"/>
              <a:gd name="connsiteX9" fmla="*/ 374093 w 1109878"/>
              <a:gd name="connsiteY9" fmla="*/ 886470 h 886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878" h="886470">
                <a:moveTo>
                  <a:pt x="0" y="886470"/>
                </a:moveTo>
                <a:cubicBezTo>
                  <a:pt x="69210" y="886470"/>
                  <a:pt x="125269" y="687989"/>
                  <a:pt x="125269" y="443235"/>
                </a:cubicBezTo>
                <a:cubicBezTo>
                  <a:pt x="125269" y="198481"/>
                  <a:pt x="69210" y="0"/>
                  <a:pt x="0" y="0"/>
                </a:cubicBezTo>
                <a:lnTo>
                  <a:pt x="626194" y="0"/>
                </a:lnTo>
                <a:lnTo>
                  <a:pt x="626195" y="1"/>
                </a:lnTo>
                <a:lnTo>
                  <a:pt x="741986" y="1"/>
                </a:lnTo>
                <a:lnTo>
                  <a:pt x="1109878" y="443236"/>
                </a:lnTo>
                <a:lnTo>
                  <a:pt x="741986" y="886470"/>
                </a:lnTo>
                <a:lnTo>
                  <a:pt x="374093" y="886470"/>
                </a:lnTo>
                <a:lnTo>
                  <a:pt x="374093" y="8864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solidFill>
              <a:srgbClr val="1163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05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9" name="Oval 44"/>
          <p:cNvSpPr/>
          <p:nvPr/>
        </p:nvSpPr>
        <p:spPr>
          <a:xfrm>
            <a:off x="4244955" y="4712250"/>
            <a:ext cx="917943" cy="9323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it-IT" sz="1050" dirty="0"/>
          </a:p>
        </p:txBody>
      </p:sp>
      <p:sp>
        <p:nvSpPr>
          <p:cNvPr id="40" name="Oval 45"/>
          <p:cNvSpPr/>
          <p:nvPr/>
        </p:nvSpPr>
        <p:spPr>
          <a:xfrm>
            <a:off x="6567492" y="2103619"/>
            <a:ext cx="917943" cy="9323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it-IT" sz="1050" dirty="0"/>
          </a:p>
        </p:txBody>
      </p:sp>
      <p:sp>
        <p:nvSpPr>
          <p:cNvPr id="41" name="Oval 48"/>
          <p:cNvSpPr/>
          <p:nvPr/>
        </p:nvSpPr>
        <p:spPr>
          <a:xfrm>
            <a:off x="6571873" y="4712250"/>
            <a:ext cx="917943" cy="9323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it-IT" sz="1050" dirty="0"/>
          </a:p>
        </p:txBody>
      </p:sp>
      <p:sp>
        <p:nvSpPr>
          <p:cNvPr id="42" name="Freeform 50"/>
          <p:cNvSpPr/>
          <p:nvPr/>
        </p:nvSpPr>
        <p:spPr bwMode="auto">
          <a:xfrm>
            <a:off x="3607129" y="3776123"/>
            <a:ext cx="726705" cy="395227"/>
          </a:xfrm>
          <a:custGeom>
            <a:avLst/>
            <a:gdLst>
              <a:gd name="connsiteX0" fmla="*/ 0 w 1109878"/>
              <a:gd name="connsiteY0" fmla="*/ 886470 h 886470"/>
              <a:gd name="connsiteX1" fmla="*/ 125269 w 1109878"/>
              <a:gd name="connsiteY1" fmla="*/ 443235 h 886470"/>
              <a:gd name="connsiteX2" fmla="*/ 0 w 1109878"/>
              <a:gd name="connsiteY2" fmla="*/ 0 h 886470"/>
              <a:gd name="connsiteX3" fmla="*/ 626194 w 1109878"/>
              <a:gd name="connsiteY3" fmla="*/ 0 h 886470"/>
              <a:gd name="connsiteX4" fmla="*/ 626195 w 1109878"/>
              <a:gd name="connsiteY4" fmla="*/ 1 h 886470"/>
              <a:gd name="connsiteX5" fmla="*/ 741986 w 1109878"/>
              <a:gd name="connsiteY5" fmla="*/ 1 h 886470"/>
              <a:gd name="connsiteX6" fmla="*/ 1109878 w 1109878"/>
              <a:gd name="connsiteY6" fmla="*/ 443236 h 886470"/>
              <a:gd name="connsiteX7" fmla="*/ 741986 w 1109878"/>
              <a:gd name="connsiteY7" fmla="*/ 886470 h 886470"/>
              <a:gd name="connsiteX8" fmla="*/ 374093 w 1109878"/>
              <a:gd name="connsiteY8" fmla="*/ 886470 h 886470"/>
              <a:gd name="connsiteX9" fmla="*/ 374093 w 1109878"/>
              <a:gd name="connsiteY9" fmla="*/ 886470 h 886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878" h="886470">
                <a:moveTo>
                  <a:pt x="0" y="886470"/>
                </a:moveTo>
                <a:cubicBezTo>
                  <a:pt x="69210" y="886470"/>
                  <a:pt x="125269" y="687989"/>
                  <a:pt x="125269" y="443235"/>
                </a:cubicBezTo>
                <a:cubicBezTo>
                  <a:pt x="125269" y="198481"/>
                  <a:pt x="69210" y="0"/>
                  <a:pt x="0" y="0"/>
                </a:cubicBezTo>
                <a:lnTo>
                  <a:pt x="626194" y="0"/>
                </a:lnTo>
                <a:lnTo>
                  <a:pt x="626195" y="1"/>
                </a:lnTo>
                <a:lnTo>
                  <a:pt x="741986" y="1"/>
                </a:lnTo>
                <a:lnTo>
                  <a:pt x="1109878" y="443236"/>
                </a:lnTo>
                <a:lnTo>
                  <a:pt x="741986" y="886470"/>
                </a:lnTo>
                <a:lnTo>
                  <a:pt x="374093" y="886470"/>
                </a:lnTo>
                <a:lnTo>
                  <a:pt x="374093" y="8864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solidFill>
              <a:srgbClr val="1163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05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3" name="Oval 51"/>
          <p:cNvSpPr/>
          <p:nvPr/>
        </p:nvSpPr>
        <p:spPr>
          <a:xfrm>
            <a:off x="4240574" y="2103619"/>
            <a:ext cx="917943" cy="9323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it-IT" sz="1100" dirty="0"/>
          </a:p>
        </p:txBody>
      </p:sp>
      <p:sp>
        <p:nvSpPr>
          <p:cNvPr id="44" name="Freeform 53"/>
          <p:cNvSpPr/>
          <p:nvPr/>
        </p:nvSpPr>
        <p:spPr bwMode="auto">
          <a:xfrm flipH="1">
            <a:off x="7297492" y="3776123"/>
            <a:ext cx="726705" cy="395227"/>
          </a:xfrm>
          <a:custGeom>
            <a:avLst/>
            <a:gdLst>
              <a:gd name="connsiteX0" fmla="*/ 0 w 1109878"/>
              <a:gd name="connsiteY0" fmla="*/ 886470 h 886470"/>
              <a:gd name="connsiteX1" fmla="*/ 125269 w 1109878"/>
              <a:gd name="connsiteY1" fmla="*/ 443235 h 886470"/>
              <a:gd name="connsiteX2" fmla="*/ 0 w 1109878"/>
              <a:gd name="connsiteY2" fmla="*/ 0 h 886470"/>
              <a:gd name="connsiteX3" fmla="*/ 626194 w 1109878"/>
              <a:gd name="connsiteY3" fmla="*/ 0 h 886470"/>
              <a:gd name="connsiteX4" fmla="*/ 626195 w 1109878"/>
              <a:gd name="connsiteY4" fmla="*/ 1 h 886470"/>
              <a:gd name="connsiteX5" fmla="*/ 741986 w 1109878"/>
              <a:gd name="connsiteY5" fmla="*/ 1 h 886470"/>
              <a:gd name="connsiteX6" fmla="*/ 1109878 w 1109878"/>
              <a:gd name="connsiteY6" fmla="*/ 443236 h 886470"/>
              <a:gd name="connsiteX7" fmla="*/ 741986 w 1109878"/>
              <a:gd name="connsiteY7" fmla="*/ 886470 h 886470"/>
              <a:gd name="connsiteX8" fmla="*/ 374093 w 1109878"/>
              <a:gd name="connsiteY8" fmla="*/ 886470 h 886470"/>
              <a:gd name="connsiteX9" fmla="*/ 374093 w 1109878"/>
              <a:gd name="connsiteY9" fmla="*/ 886470 h 8864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9878" h="886470">
                <a:moveTo>
                  <a:pt x="0" y="886470"/>
                </a:moveTo>
                <a:cubicBezTo>
                  <a:pt x="69210" y="886470"/>
                  <a:pt x="125269" y="687989"/>
                  <a:pt x="125269" y="443235"/>
                </a:cubicBezTo>
                <a:cubicBezTo>
                  <a:pt x="125269" y="198481"/>
                  <a:pt x="69210" y="0"/>
                  <a:pt x="0" y="0"/>
                </a:cubicBezTo>
                <a:lnTo>
                  <a:pt x="626194" y="0"/>
                </a:lnTo>
                <a:lnTo>
                  <a:pt x="626195" y="1"/>
                </a:lnTo>
                <a:lnTo>
                  <a:pt x="741986" y="1"/>
                </a:lnTo>
                <a:lnTo>
                  <a:pt x="1109878" y="443236"/>
                </a:lnTo>
                <a:lnTo>
                  <a:pt x="741986" y="886470"/>
                </a:lnTo>
                <a:lnTo>
                  <a:pt x="374093" y="886470"/>
                </a:lnTo>
                <a:lnTo>
                  <a:pt x="374093" y="886470"/>
                </a:lnTo>
                <a:close/>
              </a:path>
            </a:pathLst>
          </a:custGeom>
          <a:solidFill>
            <a:schemeClr val="accent1"/>
          </a:solidFill>
          <a:ln w="12700" cap="flat" cmpd="sng" algn="ctr">
            <a:solidFill>
              <a:srgbClr val="1163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it-IT" sz="105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5" name="Oval 55"/>
          <p:cNvSpPr/>
          <p:nvPr/>
        </p:nvSpPr>
        <p:spPr>
          <a:xfrm>
            <a:off x="7913094" y="3507552"/>
            <a:ext cx="917943" cy="9323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it-IT" sz="1100" dirty="0"/>
          </a:p>
        </p:txBody>
      </p:sp>
      <p:sp>
        <p:nvSpPr>
          <p:cNvPr id="46" name="Line Callout 1 (Accent Bar) 65"/>
          <p:cNvSpPr/>
          <p:nvPr/>
        </p:nvSpPr>
        <p:spPr>
          <a:xfrm rot="5400000" flipH="1">
            <a:off x="8700402" y="445885"/>
            <a:ext cx="475300" cy="2993395"/>
          </a:xfrm>
          <a:prstGeom prst="accentCallout1">
            <a:avLst>
              <a:gd name="adj1" fmla="val 101291"/>
              <a:gd name="adj2" fmla="val -4353"/>
              <a:gd name="adj3" fmla="val 107787"/>
              <a:gd name="adj4" fmla="val -35241"/>
            </a:avLst>
          </a:pr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36000" rIns="72000" bIns="36000" rtlCol="0" anchor="ctr"/>
          <a:lstStyle/>
          <a:p>
            <a:r>
              <a:rPr lang="it-IT" altLang="zh-CN" sz="11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Batterie e nuove risorse di flessibilità</a:t>
            </a:r>
            <a:endParaRPr lang="it-IT" altLang="zh-CN" sz="1100" b="1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47" name="Line Callout 1 (Accent Bar) 66"/>
          <p:cNvSpPr/>
          <p:nvPr/>
        </p:nvSpPr>
        <p:spPr>
          <a:xfrm rot="16200000">
            <a:off x="2814108" y="766263"/>
            <a:ext cx="475300" cy="2335220"/>
          </a:xfrm>
          <a:prstGeom prst="accentCallout1">
            <a:avLst>
              <a:gd name="adj1" fmla="val 101307"/>
              <a:gd name="adj2" fmla="val -4859"/>
              <a:gd name="adj3" fmla="val 109594"/>
              <a:gd name="adj4" fmla="val -32360"/>
            </a:avLst>
          </a:pr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72000" tIns="36000" rIns="72000" bIns="36000" rtlCol="0" anchor="ctr"/>
          <a:lstStyle/>
          <a:p>
            <a:pPr algn="ctr"/>
            <a:r>
              <a:rPr lang="it-IT" sz="1100" b="1" dirty="0" smtClean="0">
                <a:solidFill>
                  <a:schemeClr val="tx1"/>
                </a:solidFill>
              </a:rPr>
              <a:t>Small-scale PV Residenziale </a:t>
            </a:r>
            <a:endParaRPr lang="it-IT" sz="1100" b="1" dirty="0">
              <a:solidFill>
                <a:schemeClr val="tx1"/>
              </a:solidFill>
            </a:endParaRPr>
          </a:p>
        </p:txBody>
      </p:sp>
      <p:sp>
        <p:nvSpPr>
          <p:cNvPr id="48" name="Freeform 27"/>
          <p:cNvSpPr>
            <a:spLocks noEditPoints="1"/>
          </p:cNvSpPr>
          <p:nvPr/>
        </p:nvSpPr>
        <p:spPr bwMode="gray">
          <a:xfrm>
            <a:off x="5587554" y="2067357"/>
            <a:ext cx="507589" cy="623992"/>
          </a:xfrm>
          <a:custGeom>
            <a:avLst/>
            <a:gdLst/>
            <a:ahLst/>
            <a:cxnLst>
              <a:cxn ang="0">
                <a:pos x="154" y="81"/>
              </a:cxn>
              <a:cxn ang="0">
                <a:pos x="154" y="120"/>
              </a:cxn>
              <a:cxn ang="0">
                <a:pos x="152" y="134"/>
              </a:cxn>
              <a:cxn ang="0">
                <a:pos x="146" y="147"/>
              </a:cxn>
              <a:cxn ang="0">
                <a:pos x="112" y="171"/>
              </a:cxn>
              <a:cxn ang="0">
                <a:pos x="6" y="185"/>
              </a:cxn>
              <a:cxn ang="0">
                <a:pos x="2" y="67"/>
              </a:cxn>
              <a:cxn ang="0">
                <a:pos x="143" y="30"/>
              </a:cxn>
              <a:cxn ang="0">
                <a:pos x="84" y="13"/>
              </a:cxn>
              <a:cxn ang="0">
                <a:pos x="84" y="110"/>
              </a:cxn>
              <a:cxn ang="0">
                <a:pos x="134" y="37"/>
              </a:cxn>
              <a:cxn ang="0">
                <a:pos x="57" y="46"/>
              </a:cxn>
              <a:cxn ang="0">
                <a:pos x="69" y="40"/>
              </a:cxn>
              <a:cxn ang="0">
                <a:pos x="69" y="53"/>
              </a:cxn>
              <a:cxn ang="0">
                <a:pos x="82" y="56"/>
              </a:cxn>
              <a:cxn ang="0">
                <a:pos x="75" y="66"/>
              </a:cxn>
              <a:cxn ang="0">
                <a:pos x="84" y="76"/>
              </a:cxn>
              <a:cxn ang="0">
                <a:pos x="72" y="80"/>
              </a:cxn>
              <a:cxn ang="0">
                <a:pos x="73" y="94"/>
              </a:cxn>
              <a:cxn ang="0">
                <a:pos x="61" y="90"/>
              </a:cxn>
              <a:cxn ang="0">
                <a:pos x="54" y="102"/>
              </a:cxn>
              <a:cxn ang="0">
                <a:pos x="46" y="91"/>
              </a:cxn>
              <a:cxn ang="0">
                <a:pos x="34" y="97"/>
              </a:cxn>
              <a:cxn ang="0">
                <a:pos x="34" y="84"/>
              </a:cxn>
              <a:cxn ang="0">
                <a:pos x="21" y="81"/>
              </a:cxn>
              <a:cxn ang="0">
                <a:pos x="28" y="71"/>
              </a:cxn>
              <a:cxn ang="0">
                <a:pos x="19" y="61"/>
              </a:cxn>
              <a:cxn ang="0">
                <a:pos x="31" y="56"/>
              </a:cxn>
              <a:cxn ang="0">
                <a:pos x="30" y="43"/>
              </a:cxn>
              <a:cxn ang="0">
                <a:pos x="42" y="47"/>
              </a:cxn>
              <a:cxn ang="0">
                <a:pos x="49" y="35"/>
              </a:cxn>
              <a:cxn ang="0">
                <a:pos x="109" y="72"/>
              </a:cxn>
              <a:cxn ang="0">
                <a:pos x="99" y="79"/>
              </a:cxn>
              <a:cxn ang="0">
                <a:pos x="97" y="67"/>
              </a:cxn>
              <a:cxn ang="0">
                <a:pos x="84" y="65"/>
              </a:cxn>
              <a:cxn ang="0">
                <a:pos x="91" y="55"/>
              </a:cxn>
              <a:cxn ang="0">
                <a:pos x="84" y="45"/>
              </a:cxn>
              <a:cxn ang="0">
                <a:pos x="96" y="43"/>
              </a:cxn>
              <a:cxn ang="0">
                <a:pos x="98" y="31"/>
              </a:cxn>
              <a:cxn ang="0">
                <a:pos x="108" y="38"/>
              </a:cxn>
              <a:cxn ang="0">
                <a:pos x="118" y="30"/>
              </a:cxn>
              <a:cxn ang="0">
                <a:pos x="120" y="43"/>
              </a:cxn>
              <a:cxn ang="0">
                <a:pos x="133" y="44"/>
              </a:cxn>
              <a:cxn ang="0">
                <a:pos x="126" y="55"/>
              </a:cxn>
              <a:cxn ang="0">
                <a:pos x="133" y="65"/>
              </a:cxn>
              <a:cxn ang="0">
                <a:pos x="121" y="67"/>
              </a:cxn>
              <a:cxn ang="0">
                <a:pos x="119" y="79"/>
              </a:cxn>
              <a:cxn ang="0">
                <a:pos x="109" y="72"/>
              </a:cxn>
              <a:cxn ang="0">
                <a:pos x="61" y="68"/>
              </a:cxn>
              <a:cxn ang="0">
                <a:pos x="42" y="68"/>
              </a:cxn>
              <a:cxn ang="0">
                <a:pos x="108" y="49"/>
              </a:cxn>
              <a:cxn ang="0">
                <a:pos x="108" y="61"/>
              </a:cxn>
              <a:cxn ang="0">
                <a:pos x="108" y="49"/>
              </a:cxn>
            </a:cxnLst>
            <a:rect l="0" t="0" r="r" b="b"/>
            <a:pathLst>
              <a:path w="173" h="202">
                <a:moveTo>
                  <a:pt x="143" y="30"/>
                </a:moveTo>
                <a:cubicBezTo>
                  <a:pt x="166" y="60"/>
                  <a:pt x="151" y="68"/>
                  <a:pt x="154" y="81"/>
                </a:cubicBezTo>
                <a:cubicBezTo>
                  <a:pt x="156" y="93"/>
                  <a:pt x="173" y="104"/>
                  <a:pt x="170" y="110"/>
                </a:cubicBezTo>
                <a:cubicBezTo>
                  <a:pt x="168" y="117"/>
                  <a:pt x="154" y="115"/>
                  <a:pt x="154" y="120"/>
                </a:cubicBezTo>
                <a:cubicBezTo>
                  <a:pt x="153" y="124"/>
                  <a:pt x="157" y="129"/>
                  <a:pt x="157" y="131"/>
                </a:cubicBezTo>
                <a:cubicBezTo>
                  <a:pt x="156" y="133"/>
                  <a:pt x="152" y="134"/>
                  <a:pt x="152" y="134"/>
                </a:cubicBezTo>
                <a:cubicBezTo>
                  <a:pt x="152" y="134"/>
                  <a:pt x="154" y="137"/>
                  <a:pt x="154" y="140"/>
                </a:cubicBezTo>
                <a:cubicBezTo>
                  <a:pt x="153" y="142"/>
                  <a:pt x="146" y="142"/>
                  <a:pt x="146" y="147"/>
                </a:cubicBezTo>
                <a:cubicBezTo>
                  <a:pt x="146" y="153"/>
                  <a:pt x="154" y="161"/>
                  <a:pt x="148" y="166"/>
                </a:cubicBezTo>
                <a:cubicBezTo>
                  <a:pt x="141" y="171"/>
                  <a:pt x="123" y="165"/>
                  <a:pt x="112" y="171"/>
                </a:cubicBezTo>
                <a:cubicBezTo>
                  <a:pt x="103" y="174"/>
                  <a:pt x="98" y="189"/>
                  <a:pt x="96" y="202"/>
                </a:cubicBezTo>
                <a:cubicBezTo>
                  <a:pt x="55" y="192"/>
                  <a:pt x="33" y="187"/>
                  <a:pt x="6" y="185"/>
                </a:cubicBezTo>
                <a:cubicBezTo>
                  <a:pt x="6" y="185"/>
                  <a:pt x="25" y="158"/>
                  <a:pt x="23" y="141"/>
                </a:cubicBezTo>
                <a:cubicBezTo>
                  <a:pt x="21" y="129"/>
                  <a:pt x="0" y="101"/>
                  <a:pt x="2" y="67"/>
                </a:cubicBezTo>
                <a:cubicBezTo>
                  <a:pt x="3" y="22"/>
                  <a:pt x="37" y="0"/>
                  <a:pt x="80" y="2"/>
                </a:cubicBezTo>
                <a:cubicBezTo>
                  <a:pt x="105" y="3"/>
                  <a:pt x="129" y="12"/>
                  <a:pt x="143" y="30"/>
                </a:cubicBezTo>
                <a:close/>
                <a:moveTo>
                  <a:pt x="134" y="37"/>
                </a:moveTo>
                <a:cubicBezTo>
                  <a:pt x="123" y="22"/>
                  <a:pt x="103" y="15"/>
                  <a:pt x="84" y="13"/>
                </a:cubicBezTo>
                <a:cubicBezTo>
                  <a:pt x="48" y="10"/>
                  <a:pt x="17" y="26"/>
                  <a:pt x="13" y="64"/>
                </a:cubicBezTo>
                <a:cubicBezTo>
                  <a:pt x="9" y="108"/>
                  <a:pt x="47" y="120"/>
                  <a:pt x="84" y="110"/>
                </a:cubicBezTo>
                <a:cubicBezTo>
                  <a:pt x="102" y="105"/>
                  <a:pt x="119" y="96"/>
                  <a:pt x="130" y="84"/>
                </a:cubicBezTo>
                <a:cubicBezTo>
                  <a:pt x="141" y="72"/>
                  <a:pt x="148" y="55"/>
                  <a:pt x="134" y="37"/>
                </a:cubicBezTo>
                <a:close/>
                <a:moveTo>
                  <a:pt x="54" y="35"/>
                </a:moveTo>
                <a:cubicBezTo>
                  <a:pt x="57" y="46"/>
                  <a:pt x="57" y="46"/>
                  <a:pt x="57" y="46"/>
                </a:cubicBezTo>
                <a:cubicBezTo>
                  <a:pt x="58" y="46"/>
                  <a:pt x="60" y="46"/>
                  <a:pt x="61" y="47"/>
                </a:cubicBezTo>
                <a:cubicBezTo>
                  <a:pt x="69" y="40"/>
                  <a:pt x="69" y="40"/>
                  <a:pt x="69" y="40"/>
                </a:cubicBezTo>
                <a:cubicBezTo>
                  <a:pt x="71" y="41"/>
                  <a:pt x="72" y="42"/>
                  <a:pt x="73" y="43"/>
                </a:cubicBezTo>
                <a:cubicBezTo>
                  <a:pt x="69" y="53"/>
                  <a:pt x="69" y="53"/>
                  <a:pt x="69" y="53"/>
                </a:cubicBezTo>
                <a:cubicBezTo>
                  <a:pt x="70" y="54"/>
                  <a:pt x="71" y="55"/>
                  <a:pt x="72" y="56"/>
                </a:cubicBezTo>
                <a:cubicBezTo>
                  <a:pt x="82" y="56"/>
                  <a:pt x="82" y="56"/>
                  <a:pt x="82" y="56"/>
                </a:cubicBezTo>
                <a:cubicBezTo>
                  <a:pt x="83" y="57"/>
                  <a:pt x="84" y="59"/>
                  <a:pt x="84" y="61"/>
                </a:cubicBezTo>
                <a:cubicBezTo>
                  <a:pt x="75" y="66"/>
                  <a:pt x="75" y="66"/>
                  <a:pt x="75" y="66"/>
                </a:cubicBezTo>
                <a:cubicBezTo>
                  <a:pt x="75" y="68"/>
                  <a:pt x="75" y="69"/>
                  <a:pt x="75" y="71"/>
                </a:cubicBezTo>
                <a:cubicBezTo>
                  <a:pt x="84" y="76"/>
                  <a:pt x="84" y="76"/>
                  <a:pt x="84" y="76"/>
                </a:cubicBezTo>
                <a:cubicBezTo>
                  <a:pt x="84" y="78"/>
                  <a:pt x="83" y="80"/>
                  <a:pt x="82" y="81"/>
                </a:cubicBezTo>
                <a:cubicBezTo>
                  <a:pt x="72" y="80"/>
                  <a:pt x="72" y="80"/>
                  <a:pt x="72" y="80"/>
                </a:cubicBezTo>
                <a:cubicBezTo>
                  <a:pt x="71" y="82"/>
                  <a:pt x="70" y="83"/>
                  <a:pt x="69" y="84"/>
                </a:cubicBezTo>
                <a:cubicBezTo>
                  <a:pt x="73" y="94"/>
                  <a:pt x="73" y="94"/>
                  <a:pt x="73" y="94"/>
                </a:cubicBezTo>
                <a:cubicBezTo>
                  <a:pt x="72" y="95"/>
                  <a:pt x="71" y="96"/>
                  <a:pt x="69" y="97"/>
                </a:cubicBezTo>
                <a:cubicBezTo>
                  <a:pt x="61" y="90"/>
                  <a:pt x="61" y="90"/>
                  <a:pt x="61" y="90"/>
                </a:cubicBezTo>
                <a:cubicBezTo>
                  <a:pt x="60" y="90"/>
                  <a:pt x="58" y="91"/>
                  <a:pt x="57" y="91"/>
                </a:cubicBezTo>
                <a:cubicBezTo>
                  <a:pt x="54" y="102"/>
                  <a:pt x="54" y="102"/>
                  <a:pt x="54" y="102"/>
                </a:cubicBezTo>
                <a:cubicBezTo>
                  <a:pt x="52" y="102"/>
                  <a:pt x="51" y="102"/>
                  <a:pt x="49" y="102"/>
                </a:cubicBezTo>
                <a:cubicBezTo>
                  <a:pt x="46" y="91"/>
                  <a:pt x="46" y="91"/>
                  <a:pt x="46" y="91"/>
                </a:cubicBezTo>
                <a:cubicBezTo>
                  <a:pt x="45" y="91"/>
                  <a:pt x="44" y="90"/>
                  <a:pt x="42" y="90"/>
                </a:cubicBezTo>
                <a:cubicBezTo>
                  <a:pt x="34" y="97"/>
                  <a:pt x="34" y="97"/>
                  <a:pt x="34" y="97"/>
                </a:cubicBezTo>
                <a:cubicBezTo>
                  <a:pt x="33" y="96"/>
                  <a:pt x="31" y="95"/>
                  <a:pt x="30" y="94"/>
                </a:cubicBezTo>
                <a:cubicBezTo>
                  <a:pt x="34" y="84"/>
                  <a:pt x="34" y="84"/>
                  <a:pt x="34" y="84"/>
                </a:cubicBezTo>
                <a:cubicBezTo>
                  <a:pt x="33" y="83"/>
                  <a:pt x="32" y="82"/>
                  <a:pt x="31" y="80"/>
                </a:cubicBezTo>
                <a:cubicBezTo>
                  <a:pt x="21" y="81"/>
                  <a:pt x="21" y="81"/>
                  <a:pt x="21" y="81"/>
                </a:cubicBezTo>
                <a:cubicBezTo>
                  <a:pt x="20" y="80"/>
                  <a:pt x="19" y="78"/>
                  <a:pt x="19" y="76"/>
                </a:cubicBezTo>
                <a:cubicBezTo>
                  <a:pt x="28" y="71"/>
                  <a:pt x="28" y="71"/>
                  <a:pt x="28" y="71"/>
                </a:cubicBezTo>
                <a:cubicBezTo>
                  <a:pt x="28" y="69"/>
                  <a:pt x="28" y="68"/>
                  <a:pt x="28" y="66"/>
                </a:cubicBezTo>
                <a:cubicBezTo>
                  <a:pt x="19" y="61"/>
                  <a:pt x="19" y="61"/>
                  <a:pt x="19" y="61"/>
                </a:cubicBezTo>
                <a:cubicBezTo>
                  <a:pt x="19" y="59"/>
                  <a:pt x="20" y="57"/>
                  <a:pt x="21" y="56"/>
                </a:cubicBezTo>
                <a:cubicBezTo>
                  <a:pt x="31" y="56"/>
                  <a:pt x="31" y="56"/>
                  <a:pt x="31" y="56"/>
                </a:cubicBezTo>
                <a:cubicBezTo>
                  <a:pt x="32" y="55"/>
                  <a:pt x="33" y="54"/>
                  <a:pt x="34" y="53"/>
                </a:cubicBezTo>
                <a:cubicBezTo>
                  <a:pt x="30" y="43"/>
                  <a:pt x="30" y="43"/>
                  <a:pt x="30" y="43"/>
                </a:cubicBezTo>
                <a:cubicBezTo>
                  <a:pt x="31" y="42"/>
                  <a:pt x="33" y="41"/>
                  <a:pt x="34" y="40"/>
                </a:cubicBezTo>
                <a:cubicBezTo>
                  <a:pt x="42" y="47"/>
                  <a:pt x="42" y="47"/>
                  <a:pt x="42" y="47"/>
                </a:cubicBezTo>
                <a:cubicBezTo>
                  <a:pt x="44" y="46"/>
                  <a:pt x="45" y="46"/>
                  <a:pt x="46" y="46"/>
                </a:cubicBezTo>
                <a:cubicBezTo>
                  <a:pt x="49" y="35"/>
                  <a:pt x="49" y="35"/>
                  <a:pt x="49" y="35"/>
                </a:cubicBezTo>
                <a:cubicBezTo>
                  <a:pt x="51" y="35"/>
                  <a:pt x="52" y="35"/>
                  <a:pt x="54" y="35"/>
                </a:cubicBezTo>
                <a:close/>
                <a:moveTo>
                  <a:pt x="109" y="72"/>
                </a:moveTo>
                <a:cubicBezTo>
                  <a:pt x="105" y="81"/>
                  <a:pt x="105" y="81"/>
                  <a:pt x="105" y="81"/>
                </a:cubicBezTo>
                <a:cubicBezTo>
                  <a:pt x="103" y="81"/>
                  <a:pt x="100" y="80"/>
                  <a:pt x="99" y="79"/>
                </a:cubicBezTo>
                <a:cubicBezTo>
                  <a:pt x="100" y="70"/>
                  <a:pt x="100" y="70"/>
                  <a:pt x="100" y="70"/>
                </a:cubicBezTo>
                <a:cubicBezTo>
                  <a:pt x="99" y="69"/>
                  <a:pt x="98" y="68"/>
                  <a:pt x="97" y="67"/>
                </a:cubicBezTo>
                <a:cubicBezTo>
                  <a:pt x="87" y="71"/>
                  <a:pt x="87" y="71"/>
                  <a:pt x="87" y="71"/>
                </a:cubicBezTo>
                <a:cubicBezTo>
                  <a:pt x="86" y="69"/>
                  <a:pt x="85" y="67"/>
                  <a:pt x="84" y="65"/>
                </a:cubicBezTo>
                <a:cubicBezTo>
                  <a:pt x="92" y="59"/>
                  <a:pt x="92" y="59"/>
                  <a:pt x="92" y="59"/>
                </a:cubicBezTo>
                <a:cubicBezTo>
                  <a:pt x="92" y="58"/>
                  <a:pt x="91" y="56"/>
                  <a:pt x="91" y="55"/>
                </a:cubicBezTo>
                <a:cubicBezTo>
                  <a:pt x="82" y="51"/>
                  <a:pt x="82" y="51"/>
                  <a:pt x="82" y="51"/>
                </a:cubicBezTo>
                <a:cubicBezTo>
                  <a:pt x="83" y="49"/>
                  <a:pt x="83" y="47"/>
                  <a:pt x="84" y="45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45"/>
                  <a:pt x="95" y="44"/>
                  <a:pt x="96" y="43"/>
                </a:cubicBezTo>
                <a:cubicBezTo>
                  <a:pt x="93" y="34"/>
                  <a:pt x="93" y="34"/>
                  <a:pt x="93" y="34"/>
                </a:cubicBezTo>
                <a:cubicBezTo>
                  <a:pt x="94" y="33"/>
                  <a:pt x="97" y="31"/>
                  <a:pt x="98" y="31"/>
                </a:cubicBezTo>
                <a:cubicBezTo>
                  <a:pt x="104" y="38"/>
                  <a:pt x="104" y="38"/>
                  <a:pt x="104" y="38"/>
                </a:cubicBezTo>
                <a:cubicBezTo>
                  <a:pt x="106" y="38"/>
                  <a:pt x="107" y="38"/>
                  <a:pt x="108" y="38"/>
                </a:cubicBezTo>
                <a:cubicBezTo>
                  <a:pt x="112" y="29"/>
                  <a:pt x="112" y="29"/>
                  <a:pt x="112" y="29"/>
                </a:cubicBezTo>
                <a:cubicBezTo>
                  <a:pt x="114" y="29"/>
                  <a:pt x="117" y="30"/>
                  <a:pt x="118" y="30"/>
                </a:cubicBezTo>
                <a:cubicBezTo>
                  <a:pt x="117" y="40"/>
                  <a:pt x="117" y="40"/>
                  <a:pt x="117" y="40"/>
                </a:cubicBezTo>
                <a:cubicBezTo>
                  <a:pt x="118" y="41"/>
                  <a:pt x="119" y="42"/>
                  <a:pt x="120" y="43"/>
                </a:cubicBezTo>
                <a:cubicBezTo>
                  <a:pt x="130" y="39"/>
                  <a:pt x="130" y="39"/>
                  <a:pt x="130" y="39"/>
                </a:cubicBezTo>
                <a:cubicBezTo>
                  <a:pt x="131" y="41"/>
                  <a:pt x="132" y="43"/>
                  <a:pt x="133" y="44"/>
                </a:cubicBezTo>
                <a:cubicBezTo>
                  <a:pt x="125" y="51"/>
                  <a:pt x="125" y="51"/>
                  <a:pt x="125" y="51"/>
                </a:cubicBezTo>
                <a:cubicBezTo>
                  <a:pt x="125" y="52"/>
                  <a:pt x="126" y="53"/>
                  <a:pt x="126" y="55"/>
                </a:cubicBezTo>
                <a:cubicBezTo>
                  <a:pt x="135" y="59"/>
                  <a:pt x="135" y="59"/>
                  <a:pt x="135" y="59"/>
                </a:cubicBezTo>
                <a:cubicBezTo>
                  <a:pt x="134" y="60"/>
                  <a:pt x="134" y="63"/>
                  <a:pt x="133" y="65"/>
                </a:cubicBezTo>
                <a:cubicBezTo>
                  <a:pt x="123" y="64"/>
                  <a:pt x="123" y="64"/>
                  <a:pt x="123" y="64"/>
                </a:cubicBezTo>
                <a:cubicBezTo>
                  <a:pt x="123" y="65"/>
                  <a:pt x="122" y="66"/>
                  <a:pt x="121" y="67"/>
                </a:cubicBezTo>
                <a:cubicBezTo>
                  <a:pt x="124" y="76"/>
                  <a:pt x="124" y="76"/>
                  <a:pt x="124" y="76"/>
                </a:cubicBezTo>
                <a:cubicBezTo>
                  <a:pt x="123" y="77"/>
                  <a:pt x="120" y="78"/>
                  <a:pt x="119" y="79"/>
                </a:cubicBezTo>
                <a:cubicBezTo>
                  <a:pt x="113" y="71"/>
                  <a:pt x="113" y="71"/>
                  <a:pt x="113" y="71"/>
                </a:cubicBezTo>
                <a:cubicBezTo>
                  <a:pt x="111" y="72"/>
                  <a:pt x="110" y="72"/>
                  <a:pt x="109" y="72"/>
                </a:cubicBezTo>
                <a:close/>
                <a:moveTo>
                  <a:pt x="52" y="59"/>
                </a:moveTo>
                <a:cubicBezTo>
                  <a:pt x="57" y="59"/>
                  <a:pt x="61" y="63"/>
                  <a:pt x="61" y="68"/>
                </a:cubicBezTo>
                <a:cubicBezTo>
                  <a:pt x="61" y="74"/>
                  <a:pt x="57" y="78"/>
                  <a:pt x="52" y="78"/>
                </a:cubicBezTo>
                <a:cubicBezTo>
                  <a:pt x="46" y="78"/>
                  <a:pt x="42" y="74"/>
                  <a:pt x="42" y="68"/>
                </a:cubicBezTo>
                <a:cubicBezTo>
                  <a:pt x="42" y="63"/>
                  <a:pt x="46" y="59"/>
                  <a:pt x="52" y="59"/>
                </a:cubicBezTo>
                <a:close/>
                <a:moveTo>
                  <a:pt x="108" y="49"/>
                </a:moveTo>
                <a:cubicBezTo>
                  <a:pt x="112" y="49"/>
                  <a:pt x="114" y="52"/>
                  <a:pt x="114" y="55"/>
                </a:cubicBezTo>
                <a:cubicBezTo>
                  <a:pt x="114" y="58"/>
                  <a:pt x="112" y="61"/>
                  <a:pt x="108" y="61"/>
                </a:cubicBezTo>
                <a:cubicBezTo>
                  <a:pt x="105" y="61"/>
                  <a:pt x="103" y="58"/>
                  <a:pt x="103" y="55"/>
                </a:cubicBezTo>
                <a:cubicBezTo>
                  <a:pt x="103" y="52"/>
                  <a:pt x="105" y="49"/>
                  <a:pt x="108" y="49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 sz="1400" dirty="0"/>
          </a:p>
        </p:txBody>
      </p:sp>
      <p:grpSp>
        <p:nvGrpSpPr>
          <p:cNvPr id="49" name="Group 74"/>
          <p:cNvGrpSpPr>
            <a:grpSpLocks noChangeAspect="1"/>
          </p:cNvGrpSpPr>
          <p:nvPr/>
        </p:nvGrpSpPr>
        <p:grpSpPr bwMode="gray">
          <a:xfrm>
            <a:off x="5511500" y="3635831"/>
            <a:ext cx="641296" cy="427475"/>
            <a:chOff x="6268007" y="2906714"/>
            <a:chExt cx="827831" cy="509831"/>
          </a:xfrm>
          <a:solidFill>
            <a:schemeClr val="tx2"/>
          </a:solidFill>
        </p:grpSpPr>
        <p:sp>
          <p:nvSpPr>
            <p:cNvPr id="63" name="Freeform 75"/>
            <p:cNvSpPr>
              <a:spLocks/>
            </p:cNvSpPr>
            <p:nvPr/>
          </p:nvSpPr>
          <p:spPr bwMode="gray">
            <a:xfrm>
              <a:off x="6268007" y="2906714"/>
              <a:ext cx="425792" cy="503675"/>
            </a:xfrm>
            <a:custGeom>
              <a:avLst/>
              <a:gdLst>
                <a:gd name="T0" fmla="*/ 140 w 165"/>
                <a:gd name="T1" fmla="*/ 177 h 217"/>
                <a:gd name="T2" fmla="*/ 140 w 165"/>
                <a:gd name="T3" fmla="*/ 177 h 217"/>
                <a:gd name="T4" fmla="*/ 165 w 165"/>
                <a:gd name="T5" fmla="*/ 134 h 217"/>
                <a:gd name="T6" fmla="*/ 159 w 165"/>
                <a:gd name="T7" fmla="*/ 132 h 217"/>
                <a:gd name="T8" fmla="*/ 125 w 165"/>
                <a:gd name="T9" fmla="*/ 122 h 217"/>
                <a:gd name="T10" fmla="*/ 124 w 165"/>
                <a:gd name="T11" fmla="*/ 108 h 217"/>
                <a:gd name="T12" fmla="*/ 146 w 165"/>
                <a:gd name="T13" fmla="*/ 55 h 217"/>
                <a:gd name="T14" fmla="*/ 98 w 165"/>
                <a:gd name="T15" fmla="*/ 0 h 217"/>
                <a:gd name="T16" fmla="*/ 49 w 165"/>
                <a:gd name="T17" fmla="*/ 55 h 217"/>
                <a:gd name="T18" fmla="*/ 71 w 165"/>
                <a:gd name="T19" fmla="*/ 108 h 217"/>
                <a:gd name="T20" fmla="*/ 70 w 165"/>
                <a:gd name="T21" fmla="*/ 122 h 217"/>
                <a:gd name="T22" fmla="*/ 38 w 165"/>
                <a:gd name="T23" fmla="*/ 132 h 217"/>
                <a:gd name="T24" fmla="*/ 0 w 165"/>
                <a:gd name="T25" fmla="*/ 170 h 217"/>
                <a:gd name="T26" fmla="*/ 0 w 165"/>
                <a:gd name="T27" fmla="*/ 217 h 217"/>
                <a:gd name="T28" fmla="*/ 142 w 165"/>
                <a:gd name="T29" fmla="*/ 217 h 217"/>
                <a:gd name="T30" fmla="*/ 140 w 165"/>
                <a:gd name="T31" fmla="*/ 178 h 217"/>
                <a:gd name="T32" fmla="*/ 140 w 165"/>
                <a:gd name="T33" fmla="*/ 17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5" h="217">
                  <a:moveTo>
                    <a:pt x="140" y="177"/>
                  </a:moveTo>
                  <a:cubicBezTo>
                    <a:pt x="140" y="177"/>
                    <a:pt x="140" y="177"/>
                    <a:pt x="140" y="177"/>
                  </a:cubicBezTo>
                  <a:cubicBezTo>
                    <a:pt x="140" y="160"/>
                    <a:pt x="149" y="145"/>
                    <a:pt x="165" y="134"/>
                  </a:cubicBezTo>
                  <a:cubicBezTo>
                    <a:pt x="163" y="133"/>
                    <a:pt x="161" y="133"/>
                    <a:pt x="159" y="132"/>
                  </a:cubicBezTo>
                  <a:cubicBezTo>
                    <a:pt x="148" y="128"/>
                    <a:pt x="142" y="127"/>
                    <a:pt x="125" y="122"/>
                  </a:cubicBezTo>
                  <a:cubicBezTo>
                    <a:pt x="125" y="117"/>
                    <a:pt x="124" y="113"/>
                    <a:pt x="124" y="108"/>
                  </a:cubicBezTo>
                  <a:cubicBezTo>
                    <a:pt x="138" y="97"/>
                    <a:pt x="146" y="77"/>
                    <a:pt x="146" y="55"/>
                  </a:cubicBezTo>
                  <a:cubicBezTo>
                    <a:pt x="146" y="20"/>
                    <a:pt x="124" y="0"/>
                    <a:pt x="98" y="0"/>
                  </a:cubicBezTo>
                  <a:cubicBezTo>
                    <a:pt x="71" y="0"/>
                    <a:pt x="49" y="20"/>
                    <a:pt x="49" y="55"/>
                  </a:cubicBezTo>
                  <a:cubicBezTo>
                    <a:pt x="49" y="77"/>
                    <a:pt x="57" y="97"/>
                    <a:pt x="71" y="108"/>
                  </a:cubicBezTo>
                  <a:cubicBezTo>
                    <a:pt x="71" y="113"/>
                    <a:pt x="70" y="117"/>
                    <a:pt x="70" y="122"/>
                  </a:cubicBezTo>
                  <a:cubicBezTo>
                    <a:pt x="54" y="127"/>
                    <a:pt x="47" y="129"/>
                    <a:pt x="38" y="132"/>
                  </a:cubicBezTo>
                  <a:cubicBezTo>
                    <a:pt x="19" y="139"/>
                    <a:pt x="0" y="149"/>
                    <a:pt x="0" y="170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142" y="217"/>
                    <a:pt x="142" y="217"/>
                    <a:pt x="142" y="217"/>
                  </a:cubicBezTo>
                  <a:cubicBezTo>
                    <a:pt x="140" y="178"/>
                    <a:pt x="140" y="178"/>
                    <a:pt x="140" y="178"/>
                  </a:cubicBezTo>
                  <a:lnTo>
                    <a:pt x="140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400" dirty="0"/>
            </a:p>
          </p:txBody>
        </p:sp>
        <p:sp>
          <p:nvSpPr>
            <p:cNvPr id="64" name="Freeform 76"/>
            <p:cNvSpPr>
              <a:spLocks/>
            </p:cNvSpPr>
            <p:nvPr/>
          </p:nvSpPr>
          <p:spPr bwMode="gray">
            <a:xfrm>
              <a:off x="6656945" y="2952751"/>
              <a:ext cx="438893" cy="463794"/>
            </a:xfrm>
            <a:custGeom>
              <a:avLst/>
              <a:gdLst>
                <a:gd name="T0" fmla="*/ 135 w 170"/>
                <a:gd name="T1" fmla="*/ 119 h 199"/>
                <a:gd name="T2" fmla="*/ 109 w 170"/>
                <a:gd name="T3" fmla="*/ 111 h 199"/>
                <a:gd name="T4" fmla="*/ 109 w 170"/>
                <a:gd name="T5" fmla="*/ 99 h 199"/>
                <a:gd name="T6" fmla="*/ 129 w 170"/>
                <a:gd name="T7" fmla="*/ 50 h 199"/>
                <a:gd name="T8" fmla="*/ 84 w 170"/>
                <a:gd name="T9" fmla="*/ 0 h 199"/>
                <a:gd name="T10" fmla="*/ 39 w 170"/>
                <a:gd name="T11" fmla="*/ 50 h 199"/>
                <a:gd name="T12" fmla="*/ 59 w 170"/>
                <a:gd name="T13" fmla="*/ 99 h 199"/>
                <a:gd name="T14" fmla="*/ 59 w 170"/>
                <a:gd name="T15" fmla="*/ 111 h 199"/>
                <a:gd name="T16" fmla="*/ 35 w 170"/>
                <a:gd name="T17" fmla="*/ 119 h 199"/>
                <a:gd name="T18" fmla="*/ 0 w 170"/>
                <a:gd name="T19" fmla="*/ 158 h 199"/>
                <a:gd name="T20" fmla="*/ 2 w 170"/>
                <a:gd name="T21" fmla="*/ 199 h 199"/>
                <a:gd name="T22" fmla="*/ 170 w 170"/>
                <a:gd name="T23" fmla="*/ 199 h 199"/>
                <a:gd name="T24" fmla="*/ 170 w 170"/>
                <a:gd name="T25" fmla="*/ 158 h 199"/>
                <a:gd name="T26" fmla="*/ 135 w 170"/>
                <a:gd name="T27" fmla="*/ 11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0" h="199">
                  <a:moveTo>
                    <a:pt x="135" y="119"/>
                  </a:moveTo>
                  <a:cubicBezTo>
                    <a:pt x="109" y="111"/>
                    <a:pt x="109" y="111"/>
                    <a:pt x="109" y="111"/>
                  </a:cubicBezTo>
                  <a:cubicBezTo>
                    <a:pt x="109" y="107"/>
                    <a:pt x="109" y="103"/>
                    <a:pt x="109" y="99"/>
                  </a:cubicBezTo>
                  <a:cubicBezTo>
                    <a:pt x="121" y="88"/>
                    <a:pt x="129" y="70"/>
                    <a:pt x="129" y="50"/>
                  </a:cubicBezTo>
                  <a:cubicBezTo>
                    <a:pt x="129" y="18"/>
                    <a:pt x="109" y="0"/>
                    <a:pt x="84" y="0"/>
                  </a:cubicBezTo>
                  <a:cubicBezTo>
                    <a:pt x="59" y="0"/>
                    <a:pt x="39" y="18"/>
                    <a:pt x="39" y="50"/>
                  </a:cubicBezTo>
                  <a:cubicBezTo>
                    <a:pt x="39" y="70"/>
                    <a:pt x="47" y="88"/>
                    <a:pt x="59" y="99"/>
                  </a:cubicBezTo>
                  <a:cubicBezTo>
                    <a:pt x="59" y="103"/>
                    <a:pt x="59" y="107"/>
                    <a:pt x="59" y="111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17" y="126"/>
                    <a:pt x="0" y="139"/>
                    <a:pt x="0" y="158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170" y="199"/>
                    <a:pt x="170" y="199"/>
                    <a:pt x="170" y="199"/>
                  </a:cubicBezTo>
                  <a:cubicBezTo>
                    <a:pt x="170" y="158"/>
                    <a:pt x="170" y="158"/>
                    <a:pt x="170" y="158"/>
                  </a:cubicBezTo>
                  <a:cubicBezTo>
                    <a:pt x="170" y="139"/>
                    <a:pt x="153" y="126"/>
                    <a:pt x="135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400" dirty="0"/>
            </a:p>
          </p:txBody>
        </p:sp>
      </p:grpSp>
      <p:sp>
        <p:nvSpPr>
          <p:cNvPr id="50" name="Oval 49"/>
          <p:cNvSpPr/>
          <p:nvPr/>
        </p:nvSpPr>
        <p:spPr>
          <a:xfrm>
            <a:off x="2866411" y="3507552"/>
            <a:ext cx="917943" cy="9323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it-IT" sz="1100" dirty="0"/>
          </a:p>
        </p:txBody>
      </p:sp>
      <p:sp>
        <p:nvSpPr>
          <p:cNvPr id="51" name="Line Callout 1 (Accent Bar) 64"/>
          <p:cNvSpPr/>
          <p:nvPr/>
        </p:nvSpPr>
        <p:spPr>
          <a:xfrm rot="16200000">
            <a:off x="1959027" y="2529872"/>
            <a:ext cx="475300" cy="1234672"/>
          </a:xfrm>
          <a:prstGeom prst="accentCallout1">
            <a:avLst>
              <a:gd name="adj1" fmla="val 103618"/>
              <a:gd name="adj2" fmla="val -6873"/>
              <a:gd name="adj3" fmla="val 126610"/>
              <a:gd name="adj4" fmla="val -49286"/>
            </a:avLst>
          </a:pr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72000" tIns="36000" rIns="72000" bIns="36000" rtlCol="0" anchor="ctr"/>
          <a:lstStyle/>
          <a:p>
            <a:pPr algn="r"/>
            <a:r>
              <a:rPr lang="it-IT" sz="11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olico e Solare </a:t>
            </a:r>
            <a:endParaRPr lang="it-IT" sz="1100" b="1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2" name="Line Callout 1 (Accent Bar) 68"/>
          <p:cNvSpPr/>
          <p:nvPr/>
        </p:nvSpPr>
        <p:spPr>
          <a:xfrm rot="16200000" flipH="1" flipV="1">
            <a:off x="3074572" y="4844975"/>
            <a:ext cx="475300" cy="2083601"/>
          </a:xfrm>
          <a:prstGeom prst="accentCallout1">
            <a:avLst>
              <a:gd name="adj1" fmla="val -2083"/>
              <a:gd name="adj2" fmla="val 8881"/>
              <a:gd name="adj3" fmla="val -10377"/>
              <a:gd name="adj4" fmla="val -38432"/>
            </a:avLst>
          </a:pr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36000" rIns="72000" bIns="36000" rtlCol="0" anchor="ctr"/>
          <a:lstStyle/>
          <a:p>
            <a:r>
              <a:rPr lang="it-IT" sz="11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Veicoli elettrici</a:t>
            </a:r>
            <a:endParaRPr lang="it-IT" sz="1100" b="1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53" name="Line Callout 1 (Accent Bar) 70"/>
          <p:cNvSpPr/>
          <p:nvPr/>
        </p:nvSpPr>
        <p:spPr>
          <a:xfrm rot="5400000" flipV="1">
            <a:off x="8356375" y="4710141"/>
            <a:ext cx="475300" cy="2334183"/>
          </a:xfrm>
          <a:prstGeom prst="accentCallout1">
            <a:avLst>
              <a:gd name="adj1" fmla="val -1269"/>
              <a:gd name="adj2" fmla="val 5731"/>
              <a:gd name="adj3" fmla="val -10377"/>
              <a:gd name="adj4" fmla="val -38432"/>
            </a:avLst>
          </a:prstGeom>
          <a:noFill/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72000" tIns="36000" rIns="72000" bIns="36000" rtlCol="0" anchor="ctr"/>
          <a:lstStyle/>
          <a:p>
            <a:r>
              <a:rPr lang="it-IT" sz="11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Necessità di adeguamento del </a:t>
            </a:r>
            <a:r>
              <a:rPr lang="it-IT" sz="1100" b="1" dirty="0" err="1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framework</a:t>
            </a:r>
            <a:r>
              <a:rPr lang="it-IT" sz="11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it-IT" sz="1100" b="1" dirty="0" err="1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egolatorio</a:t>
            </a:r>
            <a:endParaRPr lang="it-IT" sz="1100" dirty="0">
              <a:solidFill>
                <a:schemeClr val="tx1"/>
              </a:solidFill>
            </a:endParaRPr>
          </a:p>
        </p:txBody>
      </p:sp>
      <p:sp>
        <p:nvSpPr>
          <p:cNvPr id="54" name="Line Callout 1 (Accent Bar) 67"/>
          <p:cNvSpPr/>
          <p:nvPr/>
        </p:nvSpPr>
        <p:spPr>
          <a:xfrm rot="5400000" flipH="1">
            <a:off x="9456817" y="2110557"/>
            <a:ext cx="613142" cy="1925530"/>
          </a:xfrm>
          <a:prstGeom prst="accentCallout1">
            <a:avLst>
              <a:gd name="adj1" fmla="val 103397"/>
              <a:gd name="adj2" fmla="val -5831"/>
              <a:gd name="adj3" fmla="val 113335"/>
              <a:gd name="adj4" fmla="val -53403"/>
            </a:avLst>
          </a:prstGeom>
          <a:solidFill>
            <a:srgbClr val="FFFFFF">
              <a:alpha val="85000"/>
            </a:srgbClr>
          </a:solidFill>
          <a:ln>
            <a:solidFill>
              <a:schemeClr val="accent1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36000" rIns="72000" bIns="36000" rtlCol="0" anchor="ctr"/>
          <a:lstStyle/>
          <a:p>
            <a:r>
              <a:rPr lang="it-IT" altLang="zh-CN" sz="11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alle grandi centrali alle RES, decentralizzate e non programmabili</a:t>
            </a:r>
            <a:endParaRPr lang="it-IT" altLang="zh-CN" sz="1100" b="1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  <p:pic>
        <p:nvPicPr>
          <p:cNvPr id="55" name="Picture 59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420155" y="2327633"/>
            <a:ext cx="510859" cy="495551"/>
          </a:xfrm>
          <a:prstGeom prst="rect">
            <a:avLst/>
          </a:prstGeom>
        </p:spPr>
      </p:pic>
      <p:pic>
        <p:nvPicPr>
          <p:cNvPr id="56" name="Picture 60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99034" y="2547039"/>
            <a:ext cx="403598" cy="362520"/>
          </a:xfrm>
          <a:prstGeom prst="rect">
            <a:avLst/>
          </a:prstGeom>
        </p:spPr>
      </p:pic>
      <p:pic>
        <p:nvPicPr>
          <p:cNvPr id="57" name="Picture 61"/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699474" y="2237557"/>
            <a:ext cx="337069" cy="331193"/>
          </a:xfrm>
          <a:prstGeom prst="rect">
            <a:avLst/>
          </a:prstGeom>
        </p:spPr>
      </p:pic>
      <p:pic>
        <p:nvPicPr>
          <p:cNvPr id="58" name="Picture 63"/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4276580" y="4932847"/>
            <a:ext cx="798010" cy="456308"/>
          </a:xfrm>
          <a:prstGeom prst="rect">
            <a:avLst/>
          </a:prstGeom>
        </p:spPr>
      </p:pic>
      <p:pic>
        <p:nvPicPr>
          <p:cNvPr id="59" name="Picture 40" descr="Risultati immagini per policies icon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569" y="4932848"/>
            <a:ext cx="642818" cy="555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Immagine 59"/>
          <p:cNvPicPr>
            <a:picLocks noChangeAspect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009267" y="3654356"/>
            <a:ext cx="616183" cy="603682"/>
          </a:xfrm>
          <a:prstGeom prst="rect">
            <a:avLst/>
          </a:prstGeom>
        </p:spPr>
      </p:pic>
      <p:pic>
        <p:nvPicPr>
          <p:cNvPr id="61" name="Picture 62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flipH="1">
            <a:off x="8031768" y="3605094"/>
            <a:ext cx="482600" cy="464624"/>
          </a:xfrm>
          <a:prstGeom prst="rect">
            <a:avLst/>
          </a:prstGeom>
        </p:spPr>
      </p:pic>
      <p:pic>
        <p:nvPicPr>
          <p:cNvPr id="62" name="Picture 72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8147167" y="3932996"/>
            <a:ext cx="510545" cy="552589"/>
          </a:xfrm>
          <a:prstGeom prst="rect">
            <a:avLst/>
          </a:prstGeom>
        </p:spPr>
      </p:pic>
      <p:sp>
        <p:nvSpPr>
          <p:cNvPr id="65" name="Rettangolo 64"/>
          <p:cNvSpPr/>
          <p:nvPr/>
        </p:nvSpPr>
        <p:spPr>
          <a:xfrm>
            <a:off x="1975693" y="6283084"/>
            <a:ext cx="8152481" cy="3488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000"/>
              </a:lnSpc>
            </a:pPr>
            <a:r>
              <a:rPr lang="it-IT" sz="1600" b="1" dirty="0">
                <a:solidFill>
                  <a:schemeClr val="accent1"/>
                </a:solidFill>
              </a:rPr>
              <a:t>L’intelligenza digitale è la chiave per gestire il nuovo ecosistema energetico</a:t>
            </a:r>
            <a:endParaRPr lang="it-IT" sz="1600" b="1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29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8377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7" name="think-cell Slide" r:id="rId29" imgW="592" imgH="584" progId="TCLayout.ActiveDocument.1">
                  <p:embed/>
                </p:oleObj>
              </mc:Choice>
              <mc:Fallback>
                <p:oleObj name="think-cell Slide" r:id="rId29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1200" b="1" dirty="0" err="1" smtClean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3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61999" y="670120"/>
            <a:ext cx="8495212" cy="415245"/>
          </a:xfrm>
        </p:spPr>
        <p:txBody>
          <a:bodyPr/>
          <a:lstStyle/>
          <a:p>
            <a:r>
              <a:rPr lang="it-IT" b="1" dirty="0" smtClean="0"/>
              <a:t>Scenari di crescita e annunci dei governi indicano che i veicoli elettrici sono al punto di svolta</a:t>
            </a:r>
            <a:endParaRPr lang="it-IT" b="1" dirty="0"/>
          </a:p>
        </p:txBody>
      </p:sp>
      <p:sp>
        <p:nvSpPr>
          <p:cNvPr id="32" name="Text Placeholder 6"/>
          <p:cNvSpPr txBox="1">
            <a:spLocks/>
          </p:cNvSpPr>
          <p:nvPr/>
        </p:nvSpPr>
        <p:spPr>
          <a:xfrm>
            <a:off x="763819" y="1677020"/>
            <a:ext cx="5627731" cy="212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it-IT" dirty="0" smtClean="0">
                <a:solidFill>
                  <a:schemeClr val="accent1"/>
                </a:solidFill>
              </a:rPr>
              <a:t>Scenari globali di crescita dei veicoli elettrici </a:t>
            </a:r>
            <a:r>
              <a:rPr lang="it-IT" sz="1400" b="0" dirty="0" smtClean="0">
                <a:solidFill>
                  <a:schemeClr val="accent1"/>
                </a:solidFill>
              </a:rPr>
              <a:t>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it-IT" sz="1400" b="0" i="1" dirty="0" smtClean="0">
                <a:solidFill>
                  <a:schemeClr val="accent1"/>
                </a:solidFill>
              </a:rPr>
              <a:t>Milioni di veicoli</a:t>
            </a:r>
            <a:endParaRPr lang="it-IT" b="0" i="1" dirty="0">
              <a:solidFill>
                <a:schemeClr val="accent1"/>
              </a:solidFill>
            </a:endParaRPr>
          </a:p>
        </p:txBody>
      </p:sp>
      <p:grpSp>
        <p:nvGrpSpPr>
          <p:cNvPr id="34" name="Group 55"/>
          <p:cNvGrpSpPr/>
          <p:nvPr/>
        </p:nvGrpSpPr>
        <p:grpSpPr>
          <a:xfrm>
            <a:off x="6773982" y="4139407"/>
            <a:ext cx="3600000" cy="756000"/>
            <a:chOff x="6600056" y="2900665"/>
            <a:chExt cx="3843947" cy="807227"/>
          </a:xfrm>
        </p:grpSpPr>
        <p:pic>
          <p:nvPicPr>
            <p:cNvPr id="65" name="Picture 58" descr="cn005_v1"/>
            <p:cNvPicPr preferRelativeResize="0">
              <a:picLocks noChangeArrowheads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600056" y="2900665"/>
              <a:ext cx="3843947" cy="8072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6" name="Text Box 5"/>
            <p:cNvSpPr txBox="1">
              <a:spLocks noChangeArrowheads="1"/>
            </p:cNvSpPr>
            <p:nvPr/>
          </p:nvSpPr>
          <p:spPr bwMode="gray">
            <a:xfrm>
              <a:off x="7280979" y="2933753"/>
              <a:ext cx="3077559" cy="4929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fontAlgn="base"/>
              <a:r>
                <a:rPr lang="it-IT" sz="1200" b="1" dirty="0"/>
                <a:t>“La </a:t>
              </a:r>
              <a:r>
                <a:rPr lang="it-IT" sz="1200" b="1" dirty="0" smtClean="0"/>
                <a:t>Gran Bretagna </a:t>
              </a:r>
              <a:r>
                <a:rPr lang="it-IT" sz="1200" b="1" dirty="0"/>
                <a:t>vieterà auto a benzina e diesel al 2040</a:t>
              </a:r>
              <a:r>
                <a:rPr lang="it-IT" sz="1200" b="1" dirty="0" smtClean="0"/>
                <a:t>”</a:t>
              </a:r>
              <a:endParaRPr lang="it-IT" sz="1200" b="1" dirty="0"/>
            </a:p>
          </p:txBody>
        </p:sp>
        <p:sp>
          <p:nvSpPr>
            <p:cNvPr id="67" name="Text Box 5"/>
            <p:cNvSpPr txBox="1">
              <a:spLocks noChangeArrowheads="1"/>
            </p:cNvSpPr>
            <p:nvPr/>
          </p:nvSpPr>
          <p:spPr bwMode="gray">
            <a:xfrm>
              <a:off x="8119726" y="3435946"/>
              <a:ext cx="2080731" cy="261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algn="r"/>
              <a:r>
                <a:rPr lang="it-IT" sz="1000" i="1" dirty="0" smtClean="0"/>
                <a:t>Reuters </a:t>
              </a:r>
              <a:r>
                <a:rPr lang="it-IT" sz="1000" dirty="0" smtClean="0"/>
                <a:t>– 26/07/2017</a:t>
              </a:r>
              <a:endParaRPr lang="it-IT" sz="1000" dirty="0"/>
            </a:p>
          </p:txBody>
        </p:sp>
        <p:pic>
          <p:nvPicPr>
            <p:cNvPr id="68" name="Picture 31" descr="großbritannien"/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8596" y="3109461"/>
              <a:ext cx="408353" cy="258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37" name="Group 72"/>
          <p:cNvGrpSpPr/>
          <p:nvPr/>
        </p:nvGrpSpPr>
        <p:grpSpPr>
          <a:xfrm>
            <a:off x="7554944" y="3126109"/>
            <a:ext cx="3599998" cy="756000"/>
            <a:chOff x="6816080" y="2175823"/>
            <a:chExt cx="3843945" cy="807227"/>
          </a:xfrm>
        </p:grpSpPr>
        <p:pic>
          <p:nvPicPr>
            <p:cNvPr id="53" name="Picture 73" descr="cn005_v1"/>
            <p:cNvPicPr>
              <a:picLocks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16080" y="2175823"/>
              <a:ext cx="3843945" cy="8072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4" name="Text Box 5"/>
            <p:cNvSpPr txBox="1">
              <a:spLocks noChangeArrowheads="1"/>
            </p:cNvSpPr>
            <p:nvPr/>
          </p:nvSpPr>
          <p:spPr bwMode="gray">
            <a:xfrm>
              <a:off x="7397260" y="2266679"/>
              <a:ext cx="3019220" cy="4929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fontAlgn="base"/>
              <a:r>
                <a:rPr lang="it-IT" sz="1200" b="1" dirty="0" smtClean="0"/>
                <a:t>“La Francia vieterà auto a benzina e diesel al 2040”</a:t>
              </a:r>
              <a:endParaRPr lang="it-IT" sz="1200" b="1" dirty="0"/>
            </a:p>
          </p:txBody>
        </p:sp>
        <p:sp>
          <p:nvSpPr>
            <p:cNvPr id="55" name="Text Box 5"/>
            <p:cNvSpPr txBox="1">
              <a:spLocks noChangeArrowheads="1"/>
            </p:cNvSpPr>
            <p:nvPr/>
          </p:nvSpPr>
          <p:spPr bwMode="gray">
            <a:xfrm>
              <a:off x="8382630" y="2711196"/>
              <a:ext cx="2052746" cy="261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algn="r"/>
              <a:r>
                <a:rPr lang="it-IT" sz="1000" i="1" dirty="0" smtClean="0"/>
                <a:t>The </a:t>
              </a:r>
              <a:r>
                <a:rPr lang="it-IT" sz="1000" i="1" dirty="0" err="1" smtClean="0"/>
                <a:t>Guardian</a:t>
              </a:r>
              <a:r>
                <a:rPr lang="it-IT" sz="1000" i="1" dirty="0" smtClean="0"/>
                <a:t> </a:t>
              </a:r>
              <a:r>
                <a:rPr lang="it-IT" sz="1000" dirty="0" smtClean="0"/>
                <a:t>– 6/07/2017</a:t>
              </a:r>
              <a:endParaRPr lang="it-IT" sz="1000" dirty="0"/>
            </a:p>
          </p:txBody>
        </p:sp>
        <p:pic>
          <p:nvPicPr>
            <p:cNvPr id="56" name="Picture 29" descr="frankreich"/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1157" y="2406318"/>
              <a:ext cx="372471" cy="235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grpSp>
        <p:nvGrpSpPr>
          <p:cNvPr id="38" name="Group 77"/>
          <p:cNvGrpSpPr/>
          <p:nvPr/>
        </p:nvGrpSpPr>
        <p:grpSpPr>
          <a:xfrm>
            <a:off x="6852367" y="2199467"/>
            <a:ext cx="3600000" cy="756000"/>
            <a:chOff x="6672064" y="1562513"/>
            <a:chExt cx="3843944" cy="807227"/>
          </a:xfrm>
        </p:grpSpPr>
        <p:pic>
          <p:nvPicPr>
            <p:cNvPr id="49" name="Picture 78" descr="cn005_v1"/>
            <p:cNvPicPr>
              <a:picLocks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672064" y="1562513"/>
              <a:ext cx="3843944" cy="8072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Text Box 5"/>
            <p:cNvSpPr txBox="1">
              <a:spLocks noChangeArrowheads="1"/>
            </p:cNvSpPr>
            <p:nvPr/>
          </p:nvSpPr>
          <p:spPr bwMode="gray">
            <a:xfrm>
              <a:off x="7275421" y="1678257"/>
              <a:ext cx="2997044" cy="4929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fontAlgn="base"/>
              <a:r>
                <a:rPr lang="it-IT" sz="1200" b="1" dirty="0" smtClean="0"/>
                <a:t>“La Germania vieterà veicoli </a:t>
              </a:r>
              <a:r>
                <a:rPr lang="it-IT" sz="1200" b="1" dirty="0" err="1" smtClean="0"/>
                <a:t>MCI</a:t>
              </a:r>
              <a:r>
                <a:rPr lang="it-IT" sz="1200" b="1" baseline="30000" dirty="0" err="1" smtClean="0"/>
                <a:t>a</a:t>
              </a:r>
              <a:r>
                <a:rPr lang="it-IT" sz="1200" b="1" dirty="0" smtClean="0"/>
                <a:t> al 2030”</a:t>
              </a:r>
              <a:endParaRPr lang="it-IT" sz="1200" b="1" dirty="0"/>
            </a:p>
          </p:txBody>
        </p:sp>
        <p:pic>
          <p:nvPicPr>
            <p:cNvPr id="51" name="Picture 26" descr="deutschland"/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7696" y="1773307"/>
              <a:ext cx="374085" cy="2365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52" name="Text Box 5"/>
            <p:cNvSpPr txBox="1">
              <a:spLocks noChangeArrowheads="1"/>
            </p:cNvSpPr>
            <p:nvPr/>
          </p:nvSpPr>
          <p:spPr bwMode="gray">
            <a:xfrm>
              <a:off x="6803893" y="2082738"/>
              <a:ext cx="3473931" cy="261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algn="r"/>
              <a:r>
                <a:rPr lang="it-IT" sz="1000" i="1" dirty="0" smtClean="0"/>
                <a:t>Reuters </a:t>
              </a:r>
              <a:r>
                <a:rPr lang="it-IT" sz="1000" dirty="0" smtClean="0"/>
                <a:t>– 08/10/2017</a:t>
              </a:r>
              <a:endParaRPr lang="it-IT" sz="1000" dirty="0"/>
            </a:p>
          </p:txBody>
        </p:sp>
      </p:grpSp>
      <p:grpSp>
        <p:nvGrpSpPr>
          <p:cNvPr id="39" name="Group 82"/>
          <p:cNvGrpSpPr/>
          <p:nvPr/>
        </p:nvGrpSpPr>
        <p:grpSpPr>
          <a:xfrm>
            <a:off x="7376429" y="5097793"/>
            <a:ext cx="3600000" cy="756000"/>
            <a:chOff x="6941310" y="3878306"/>
            <a:chExt cx="3843945" cy="807227"/>
          </a:xfrm>
        </p:grpSpPr>
        <p:pic>
          <p:nvPicPr>
            <p:cNvPr id="45" name="Picture 83" descr="cn005_v1"/>
            <p:cNvPicPr>
              <a:picLocks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941310" y="3878306"/>
              <a:ext cx="3843945" cy="8072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 Box 5"/>
            <p:cNvSpPr txBox="1">
              <a:spLocks noChangeArrowheads="1"/>
            </p:cNvSpPr>
            <p:nvPr/>
          </p:nvSpPr>
          <p:spPr bwMode="gray">
            <a:xfrm>
              <a:off x="7464153" y="3911396"/>
              <a:ext cx="3103357" cy="4929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fontAlgn="base"/>
              <a:r>
                <a:rPr lang="it-IT" sz="1200" b="1" dirty="0" smtClean="0"/>
                <a:t>“4 miliardi EUR per la sostituzione di vecchi bus pubblici”</a:t>
              </a:r>
              <a:endParaRPr lang="it-IT" sz="1200" b="1" dirty="0"/>
            </a:p>
          </p:txBody>
        </p:sp>
        <p:sp>
          <p:nvSpPr>
            <p:cNvPr id="47" name="Text Box 5"/>
            <p:cNvSpPr txBox="1">
              <a:spLocks noChangeArrowheads="1"/>
            </p:cNvSpPr>
            <p:nvPr/>
          </p:nvSpPr>
          <p:spPr bwMode="gray">
            <a:xfrm>
              <a:off x="7115367" y="4413987"/>
              <a:ext cx="3473931" cy="2629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algn="r"/>
              <a:r>
                <a:rPr lang="it-IT" sz="1000" i="1" dirty="0" smtClean="0"/>
                <a:t>G. </a:t>
              </a:r>
              <a:r>
                <a:rPr lang="it-IT" sz="1000" i="1" dirty="0" err="1" smtClean="0"/>
                <a:t>Delrio</a:t>
              </a:r>
              <a:r>
                <a:rPr lang="it-IT" sz="1000" i="1" dirty="0" smtClean="0"/>
                <a:t> – Ministro Trasporti </a:t>
              </a:r>
              <a:r>
                <a:rPr lang="it-IT" sz="1000" dirty="0" smtClean="0"/>
                <a:t>– 20/01/2017</a:t>
              </a:r>
              <a:endParaRPr lang="it-IT" sz="1000" dirty="0"/>
            </a:p>
          </p:txBody>
        </p:sp>
        <p:pic>
          <p:nvPicPr>
            <p:cNvPr id="48" name="Picture 19" descr="italien"/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3284" y="4092255"/>
              <a:ext cx="364914" cy="2307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sp>
        <p:nvSpPr>
          <p:cNvPr id="70" name="Text Placeholder 5"/>
          <p:cNvSpPr txBox="1">
            <a:spLocks/>
          </p:cNvSpPr>
          <p:nvPr/>
        </p:nvSpPr>
        <p:spPr>
          <a:xfrm>
            <a:off x="555717" y="6077704"/>
            <a:ext cx="8135175" cy="61555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 i="0">
                <a:solidFill>
                  <a:schemeClr val="tx2"/>
                </a:solidFill>
              </a:defRPr>
            </a:lvl1pPr>
            <a:lvl2pPr marL="0" indent="0">
              <a:spcBef>
                <a:spcPct val="20000"/>
              </a:spcBef>
              <a:buFont typeface="Arial" panose="020B0604020202020204" pitchFamily="34" charset="0"/>
              <a:buNone/>
              <a:defRPr sz="900" b="0"/>
            </a:lvl2pPr>
            <a:lvl3pPr marL="179388" indent="-179388">
              <a:spcBef>
                <a:spcPct val="20000"/>
              </a:spcBef>
              <a:buFont typeface="Arial" panose="020B0604020202020204" pitchFamily="34" charset="0"/>
              <a:buChar char="•"/>
              <a:defRPr sz="900" b="0"/>
            </a:lvl3pPr>
            <a:lvl4pPr marL="358775" indent="-179388">
              <a:spcBef>
                <a:spcPct val="20000"/>
              </a:spcBef>
              <a:buFont typeface="Arial" panose="020B0604020202020204" pitchFamily="34" charset="0"/>
              <a:buChar char="–"/>
              <a:defRPr sz="900" b="0"/>
            </a:lvl4pPr>
            <a:lvl5pPr marL="538163" indent="-179388">
              <a:spcBef>
                <a:spcPct val="20000"/>
              </a:spcBef>
              <a:buFont typeface="Arial" panose="020B0604020202020204" pitchFamily="34" charset="0"/>
              <a:buChar char="•"/>
              <a:defRPr sz="900" b="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it-IT" dirty="0" smtClean="0"/>
              <a:t>1) IEA RTS</a:t>
            </a:r>
            <a:r>
              <a:rPr lang="it-IT" dirty="0"/>
              <a:t>: Scenario dell'International Energy Agency </a:t>
            </a:r>
            <a:r>
              <a:rPr lang="it-IT" dirty="0" smtClean="0"/>
              <a:t>di crescita dei veicoli elettrici in riferimento al contesto tecnologico attuale</a:t>
            </a:r>
          </a:p>
          <a:p>
            <a:r>
              <a:rPr lang="it-IT" dirty="0"/>
              <a:t>2</a:t>
            </a:r>
            <a:r>
              <a:rPr lang="it-IT" dirty="0" smtClean="0"/>
              <a:t>) Accordo di Parigi: Scenario di crescita dei veicoli elettrici alla base dell'Accordo di Parigi (Aprile 2016)</a:t>
            </a:r>
            <a:endParaRPr lang="it-IT" i="1" dirty="0" smtClean="0"/>
          </a:p>
          <a:p>
            <a:r>
              <a:rPr lang="it-IT" dirty="0" smtClean="0"/>
              <a:t>3) IEA 2DS: Scenario dell'International Energy Agency di crescita dei veicoli elettrici per il piano di riduzione del riscaldamento globale di 2°C </a:t>
            </a:r>
          </a:p>
          <a:p>
            <a:r>
              <a:rPr lang="it-IT" dirty="0" smtClean="0"/>
              <a:t>3) IEA B2DS</a:t>
            </a:r>
            <a:r>
              <a:rPr lang="it-IT" dirty="0"/>
              <a:t>: Scenario dell'International Energy Agency di crescita dei veicoli elettrici per il piano di riduzione del riscaldamento globale </a:t>
            </a:r>
            <a:r>
              <a:rPr lang="it-IT" dirty="0" smtClean="0"/>
              <a:t>oltre 2°C</a:t>
            </a:r>
          </a:p>
          <a:p>
            <a:r>
              <a:rPr lang="it-IT" dirty="0" smtClean="0"/>
              <a:t>a) Motori a combustione interna </a:t>
            </a:r>
            <a:endParaRPr lang="it-IT" dirty="0"/>
          </a:p>
        </p:txBody>
      </p:sp>
      <p:cxnSp>
        <p:nvCxnSpPr>
          <p:cNvPr id="71" name="Straight Connector 70"/>
          <p:cNvCxnSpPr/>
          <p:nvPr>
            <p:custDataLst>
              <p:tags r:id="rId4"/>
            </p:custDataLst>
          </p:nvPr>
        </p:nvCxnSpPr>
        <p:spPr bwMode="gray">
          <a:xfrm>
            <a:off x="1085850" y="3362325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5"/>
            </p:custDataLst>
          </p:nvPr>
        </p:nvCxnSpPr>
        <p:spPr bwMode="gray">
          <a:xfrm>
            <a:off x="1085850" y="3905250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6"/>
            </p:custDataLst>
          </p:nvPr>
        </p:nvCxnSpPr>
        <p:spPr bwMode="gray">
          <a:xfrm>
            <a:off x="1085850" y="4991100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7"/>
            </p:custDataLst>
          </p:nvPr>
        </p:nvCxnSpPr>
        <p:spPr bwMode="gray">
          <a:xfrm>
            <a:off x="1085850" y="4171950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8"/>
            </p:custDataLst>
          </p:nvPr>
        </p:nvCxnSpPr>
        <p:spPr bwMode="gray">
          <a:xfrm>
            <a:off x="1085850" y="2276475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9"/>
            </p:custDataLst>
          </p:nvPr>
        </p:nvCxnSpPr>
        <p:spPr bwMode="gray">
          <a:xfrm>
            <a:off x="1085850" y="3086100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10"/>
            </p:custDataLst>
          </p:nvPr>
        </p:nvCxnSpPr>
        <p:spPr bwMode="gray">
          <a:xfrm>
            <a:off x="1085850" y="3629025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11"/>
            </p:custDataLst>
          </p:nvPr>
        </p:nvCxnSpPr>
        <p:spPr bwMode="gray">
          <a:xfrm>
            <a:off x="1085850" y="4448175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12"/>
            </p:custDataLst>
          </p:nvPr>
        </p:nvCxnSpPr>
        <p:spPr bwMode="gray">
          <a:xfrm>
            <a:off x="1085850" y="2543175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3"/>
            </p:custDataLst>
          </p:nvPr>
        </p:nvCxnSpPr>
        <p:spPr bwMode="gray">
          <a:xfrm>
            <a:off x="1085850" y="4714875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>
            <p:custDataLst>
              <p:tags r:id="rId14"/>
            </p:custDataLst>
          </p:nvPr>
        </p:nvCxnSpPr>
        <p:spPr bwMode="gray">
          <a:xfrm>
            <a:off x="1085850" y="2819400"/>
            <a:ext cx="5029200" cy="0"/>
          </a:xfrm>
          <a:prstGeom prst="line">
            <a:avLst/>
          </a:prstGeom>
          <a:ln w="3175">
            <a:solidFill>
              <a:srgbClr val="D5D1C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3" name="Object 72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92185941"/>
              </p:ext>
            </p:extLst>
          </p:nvPr>
        </p:nvGraphicFramePr>
        <p:xfrm>
          <a:off x="647699" y="2019300"/>
          <a:ext cx="5743852" cy="3715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Chart" r:id="rId39" imgW="5743852" imgH="3715010" progId="MSGraph.Chart.8">
                  <p:embed followColorScheme="full"/>
                </p:oleObj>
              </mc:Choice>
              <mc:Fallback>
                <p:oleObj name="Chart" r:id="rId39" imgW="5743852" imgH="3715010" progId="MSGraph.Chart.8">
                  <p:embed followColorScheme="full"/>
                  <p:pic>
                    <p:nvPicPr>
                      <p:cNvPr id="29" name="Object 28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647699" y="2019300"/>
                        <a:ext cx="5743852" cy="37150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7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964238" y="2238375"/>
            <a:ext cx="303213" cy="182563"/>
          </a:xfrm>
          <a:prstGeom prst="rect">
            <a:avLst/>
          </a:prstGeom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FDA6A58-6397-4467-96EE-2CD2F17EADF3}" type="datetime'''''''''''''''''2''''''''''''''''''''''''''''''''''05'''''">
              <a:rPr lang="it-IT" altLang="en-US" sz="1200" b="1" smtClean="0"/>
              <a:pPr/>
              <a:t>205</a:t>
            </a:fld>
            <a:endParaRPr lang="it-IT" sz="1200" b="1" noProof="0" dirty="0">
              <a:sym typeface="+mn-lt"/>
            </a:endParaRPr>
          </a:p>
        </p:txBody>
      </p:sp>
      <p:cxnSp>
        <p:nvCxnSpPr>
          <p:cNvPr id="79" name="Straight Connector 78"/>
          <p:cNvCxnSpPr/>
          <p:nvPr>
            <p:custDataLst>
              <p:tags r:id="rId17"/>
            </p:custDataLst>
          </p:nvPr>
        </p:nvCxnSpPr>
        <p:spPr bwMode="gray">
          <a:xfrm>
            <a:off x="1882775" y="5781675"/>
            <a:ext cx="328613" cy="0"/>
          </a:xfrm>
          <a:prstGeom prst="line">
            <a:avLst/>
          </a:prstGeom>
          <a:ln w="2857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>
            <p:custDataLst>
              <p:tags r:id="rId18"/>
            </p:custDataLst>
          </p:nvPr>
        </p:nvCxnSpPr>
        <p:spPr bwMode="gray">
          <a:xfrm>
            <a:off x="1008063" y="5781675"/>
            <a:ext cx="328613" cy="0"/>
          </a:xfrm>
          <a:prstGeom prst="line">
            <a:avLst/>
          </a:prstGeom>
          <a:ln w="28575">
            <a:solidFill>
              <a:srgbClr val="00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19"/>
            </p:custDataLst>
          </p:nvPr>
        </p:nvCxnSpPr>
        <p:spPr bwMode="gray">
          <a:xfrm>
            <a:off x="5257800" y="5781675"/>
            <a:ext cx="328613" cy="0"/>
          </a:xfrm>
          <a:prstGeom prst="line">
            <a:avLst/>
          </a:prstGeom>
          <a:ln w="2857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>
            <p:custDataLst>
              <p:tags r:id="rId20"/>
            </p:custDataLst>
          </p:nvPr>
        </p:nvCxnSpPr>
        <p:spPr bwMode="gray">
          <a:xfrm>
            <a:off x="2855913" y="5781675"/>
            <a:ext cx="328613" cy="0"/>
          </a:xfrm>
          <a:prstGeom prst="line">
            <a:avLst/>
          </a:prstGeom>
          <a:ln w="28575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21"/>
            </p:custDataLst>
          </p:nvPr>
        </p:nvCxnSpPr>
        <p:spPr bwMode="gray">
          <a:xfrm>
            <a:off x="4292600" y="5781675"/>
            <a:ext cx="328613" cy="0"/>
          </a:xfrm>
          <a:prstGeom prst="line">
            <a:avLst/>
          </a:prstGeom>
          <a:ln w="28575">
            <a:solidFill>
              <a:srgbClr val="E0301E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87475" y="5710238"/>
            <a:ext cx="393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E1FAE56-3AEF-4128-91E9-E529F5411BEF}" type="datetime'''S''t''''''''o''''r''''''''''''''''''''''i''''''''''''''co'''">
              <a:rPr lang="it-IT" altLang="en-US" sz="1000" smtClean="0"/>
              <a:pPr/>
              <a:t>Storico</a:t>
            </a:fld>
            <a:endParaRPr lang="it-IT" sz="1000" dirty="0">
              <a:sym typeface="+mn-lt"/>
            </a:endParaRPr>
          </a:p>
        </p:txBody>
      </p:sp>
      <p:sp>
        <p:nvSpPr>
          <p:cNvPr id="83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637213" y="5710238"/>
            <a:ext cx="5683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FB34FF3-20A3-4BA9-850D-8431796F8379}" type="datetime'I''''''''''''EA'' B''''''2''D''''''''''''''S'">
              <a:rPr lang="it-IT" altLang="en-US" sz="1000" smtClean="0"/>
              <a:pPr/>
              <a:t>IEA B2DS</a:t>
            </a:fld>
            <a:endParaRPr lang="it-IT" sz="1000" dirty="0"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235325" y="5710238"/>
            <a:ext cx="9556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F68CDA6-C8F7-4F40-9C5B-ACCEAB8C3250}" type="datetime'A''c''''c''''''''o''''''rdo ''d''''''i'''' Pari''g''''i'''''">
              <a:rPr lang="it-IT" altLang="en-US" sz="1000" smtClean="0"/>
              <a:pPr/>
              <a:t>Accordo di Parigi</a:t>
            </a:fld>
            <a:endParaRPr lang="it-IT" sz="1000" dirty="0">
              <a:sym typeface="+mn-lt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672013" y="5710238"/>
            <a:ext cx="484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9F415B9-466D-4569-BA61-137D566C9E4B}" type="datetime'I''''''''''''''''''''E''''A ''''''''''''''2''''D''S'''">
              <a:rPr lang="it-IT" altLang="en-US" sz="1000" smtClean="0"/>
              <a:pPr/>
              <a:t>IEA 2DS</a:t>
            </a:fld>
            <a:endParaRPr lang="it-IT" sz="1000" dirty="0">
              <a:sym typeface="+mn-lt"/>
            </a:endParaRPr>
          </a:p>
        </p:txBody>
      </p:sp>
      <p:sp>
        <p:nvSpPr>
          <p:cNvPr id="8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262188" y="5710238"/>
            <a:ext cx="4921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D83DC7D-3B82-499E-BCFA-B338ED66C1D4}" type="datetime'''''''''''''I''''''E''A'''''''''''''' ''R''''''T''''''S'''''">
              <a:rPr lang="it-IT" altLang="en-US" sz="1000" smtClean="0"/>
              <a:pPr/>
              <a:t>IEA RTS</a:t>
            </a:fld>
            <a:endParaRPr lang="it-IT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5610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62000" y="670121"/>
            <a:ext cx="8544686" cy="937112"/>
          </a:xfrm>
        </p:spPr>
        <p:txBody>
          <a:bodyPr/>
          <a:lstStyle/>
          <a:p>
            <a:r>
              <a:rPr lang="it-IT" dirty="0"/>
              <a:t>La diffusione della e-</a:t>
            </a:r>
            <a:r>
              <a:rPr lang="it-IT" dirty="0" err="1"/>
              <a:t>Mobility</a:t>
            </a:r>
            <a:r>
              <a:rPr lang="it-IT" dirty="0"/>
              <a:t> dipende da fattori chiave, quale </a:t>
            </a:r>
            <a:r>
              <a:rPr lang="it-IT" dirty="0" smtClean="0"/>
              <a:t>l’eliminazione </a:t>
            </a:r>
            <a:r>
              <a:rPr lang="it-IT" dirty="0"/>
              <a:t>del «</a:t>
            </a:r>
            <a:r>
              <a:rPr lang="it-IT" dirty="0" err="1"/>
              <a:t>range</a:t>
            </a:r>
            <a:r>
              <a:rPr lang="it-IT" dirty="0"/>
              <a:t> </a:t>
            </a:r>
            <a:r>
              <a:rPr lang="it-IT" dirty="0" err="1" smtClean="0"/>
              <a:t>anxiety</a:t>
            </a:r>
            <a:r>
              <a:rPr lang="it-IT" dirty="0" smtClean="0"/>
              <a:t>» 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4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20" name="Rectangle 6"/>
          <p:cNvSpPr/>
          <p:nvPr/>
        </p:nvSpPr>
        <p:spPr>
          <a:xfrm>
            <a:off x="2455999" y="2258675"/>
            <a:ext cx="3348000" cy="1562472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200" b="1" dirty="0" smtClean="0"/>
          </a:p>
          <a:p>
            <a:pPr algn="ctr"/>
            <a:endParaRPr lang="it-IT" sz="2200" b="1" dirty="0"/>
          </a:p>
          <a:p>
            <a:pPr algn="ctr"/>
            <a:r>
              <a:rPr lang="it-IT" sz="2200" b="1" dirty="0" err="1" smtClean="0">
                <a:solidFill>
                  <a:schemeClr val="bg1"/>
                </a:solidFill>
              </a:rPr>
              <a:t>Range</a:t>
            </a:r>
            <a:r>
              <a:rPr lang="it-IT" sz="2200" b="1" dirty="0" smtClean="0">
                <a:solidFill>
                  <a:schemeClr val="bg1"/>
                </a:solidFill>
              </a:rPr>
              <a:t> </a:t>
            </a:r>
            <a:r>
              <a:rPr lang="it-IT" sz="2200" b="1" dirty="0" err="1" smtClean="0">
                <a:solidFill>
                  <a:schemeClr val="bg1"/>
                </a:solidFill>
              </a:rPr>
              <a:t>anxiety</a:t>
            </a:r>
            <a:endParaRPr lang="it-IT" sz="2200" b="1" dirty="0" smtClean="0">
              <a:solidFill>
                <a:schemeClr val="bg1"/>
              </a:solidFill>
            </a:endParaRPr>
          </a:p>
        </p:txBody>
      </p:sp>
      <p:sp>
        <p:nvSpPr>
          <p:cNvPr id="21" name="Oval 7"/>
          <p:cNvSpPr/>
          <p:nvPr/>
        </p:nvSpPr>
        <p:spPr>
          <a:xfrm>
            <a:off x="2229123" y="2101270"/>
            <a:ext cx="1084264" cy="10842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6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1</a:t>
            </a:r>
          </a:p>
        </p:txBody>
      </p:sp>
      <p:sp>
        <p:nvSpPr>
          <p:cNvPr id="24" name="Rectangle 10"/>
          <p:cNvSpPr/>
          <p:nvPr/>
        </p:nvSpPr>
        <p:spPr>
          <a:xfrm>
            <a:off x="6374895" y="2258675"/>
            <a:ext cx="3348000" cy="1562472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200" b="1" dirty="0" smtClean="0"/>
          </a:p>
          <a:p>
            <a:pPr algn="ctr"/>
            <a:endParaRPr lang="it-IT" sz="2200" b="1" dirty="0"/>
          </a:p>
          <a:p>
            <a:pPr algn="ctr"/>
            <a:r>
              <a:rPr lang="it-IT" sz="2200" b="1" dirty="0" smtClean="0"/>
              <a:t>Prezzo delle auto</a:t>
            </a:r>
          </a:p>
        </p:txBody>
      </p:sp>
      <p:sp>
        <p:nvSpPr>
          <p:cNvPr id="26" name="Rectangle 13"/>
          <p:cNvSpPr/>
          <p:nvPr/>
        </p:nvSpPr>
        <p:spPr>
          <a:xfrm>
            <a:off x="6374895" y="4197276"/>
            <a:ext cx="3348000" cy="1562472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200" b="1" dirty="0" smtClean="0"/>
          </a:p>
          <a:p>
            <a:pPr algn="ctr"/>
            <a:endParaRPr lang="it-IT" sz="2200" b="1" dirty="0" smtClean="0"/>
          </a:p>
          <a:p>
            <a:pPr algn="ctr"/>
            <a:r>
              <a:rPr lang="it-IT" sz="2200" b="1" dirty="0" smtClean="0"/>
              <a:t>Diffusione stazioni di ricarica</a:t>
            </a:r>
          </a:p>
        </p:txBody>
      </p:sp>
      <p:sp>
        <p:nvSpPr>
          <p:cNvPr id="30" name="Oval 20"/>
          <p:cNvSpPr/>
          <p:nvPr/>
        </p:nvSpPr>
        <p:spPr>
          <a:xfrm>
            <a:off x="6157009" y="2101270"/>
            <a:ext cx="1084264" cy="10842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6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2</a:t>
            </a:r>
          </a:p>
        </p:txBody>
      </p:sp>
      <p:sp>
        <p:nvSpPr>
          <p:cNvPr id="16" name="Rectangle 6"/>
          <p:cNvSpPr/>
          <p:nvPr/>
        </p:nvSpPr>
        <p:spPr>
          <a:xfrm>
            <a:off x="2440105" y="4223046"/>
            <a:ext cx="3348000" cy="1562472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200" b="1" dirty="0" smtClean="0"/>
          </a:p>
          <a:p>
            <a:pPr algn="ctr"/>
            <a:endParaRPr lang="it-IT" sz="2200" b="1" dirty="0"/>
          </a:p>
          <a:p>
            <a:pPr algn="ctr"/>
            <a:r>
              <a:rPr lang="it-IT" sz="2200" b="1" dirty="0" smtClean="0">
                <a:solidFill>
                  <a:schemeClr val="bg1"/>
                </a:solidFill>
              </a:rPr>
              <a:t>Offerta </a:t>
            </a:r>
            <a:r>
              <a:rPr lang="it-IT" sz="2200" b="1" dirty="0" err="1" smtClean="0">
                <a:solidFill>
                  <a:schemeClr val="bg1"/>
                </a:solidFill>
              </a:rPr>
              <a:t>VeicolI</a:t>
            </a:r>
            <a:endParaRPr lang="it-IT" sz="2200" b="1" dirty="0" smtClean="0">
              <a:solidFill>
                <a:schemeClr val="bg1"/>
              </a:solidFill>
            </a:endParaRPr>
          </a:p>
        </p:txBody>
      </p:sp>
      <p:sp>
        <p:nvSpPr>
          <p:cNvPr id="31" name="Oval 21"/>
          <p:cNvSpPr/>
          <p:nvPr/>
        </p:nvSpPr>
        <p:spPr>
          <a:xfrm>
            <a:off x="2229123" y="4037156"/>
            <a:ext cx="1084264" cy="10842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6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3</a:t>
            </a:r>
          </a:p>
        </p:txBody>
      </p:sp>
      <p:sp>
        <p:nvSpPr>
          <p:cNvPr id="17" name="Oval 21"/>
          <p:cNvSpPr/>
          <p:nvPr/>
        </p:nvSpPr>
        <p:spPr>
          <a:xfrm>
            <a:off x="6157009" y="4037156"/>
            <a:ext cx="1084264" cy="10842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6000" b="1" dirty="0" smtClean="0">
                <a:solidFill>
                  <a:schemeClr val="accent1">
                    <a:lumMod val="20000"/>
                    <a:lumOff val="80000"/>
                  </a:schemeClr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085318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142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0" name="think-cell Slide" r:id="rId23" imgW="592" imgH="584" progId="TCLayout.ActiveDocument.1">
                  <p:embed/>
                </p:oleObj>
              </mc:Choice>
              <mc:Fallback>
                <p:oleObj name="think-cell Slide" r:id="rId23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1600" b="1" dirty="0" err="1" smtClean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725187" name="Picture 195" descr="Risultati immagini per electric smart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4153" y="5352954"/>
            <a:ext cx="597224" cy="397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</p:spPr>
        <p:txBody>
          <a:bodyPr/>
          <a:lstStyle/>
          <a:p>
            <a:r>
              <a:rPr lang="it-IT" dirty="0" smtClean="0"/>
              <a:t>L’autonomia dei veicoli elettrici già oggi garantisce gli spostamenti giornalieri dei clienti</a:t>
            </a:r>
            <a:endParaRPr lang="it-IT" dirty="0"/>
          </a:p>
        </p:txBody>
      </p:sp>
      <p:graphicFrame>
        <p:nvGraphicFramePr>
          <p:cNvPr id="33" name="Object 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7379973"/>
              </p:ext>
            </p:extLst>
          </p:nvPr>
        </p:nvGraphicFramePr>
        <p:xfrm>
          <a:off x="2019300" y="2400300"/>
          <a:ext cx="9267696" cy="17908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1" name="Chart" r:id="rId26" imgW="9267696" imgH="1790873" progId="MSGraph.Chart.8">
                  <p:embed followColorScheme="full"/>
                </p:oleObj>
              </mc:Choice>
              <mc:Fallback>
                <p:oleObj name="Chart" r:id="rId26" imgW="9267696" imgH="179087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019300" y="2400300"/>
                        <a:ext cx="9267696" cy="17908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277475" y="4181475"/>
            <a:ext cx="696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FE4716D-A94D-45DE-BD0F-FFF652F43BF8}" type="datetime'''''2''01''''''+'' ''''''''''''''''''''''k''''''''''''''m'">
              <a:rPr lang="it-IT" altLang="en-US" sz="1400" smtClean="0"/>
              <a:pPr/>
              <a:t>201+ km</a:t>
            </a:fld>
            <a:endParaRPr lang="it-IT" sz="1400" noProof="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764088" y="2540000"/>
            <a:ext cx="4064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D9764C-6715-4225-8B79-34EA73BD591C}" type="datetime'''''''''''''''''''2''''''''''''2''''''''''''%'''''''''''''''''">
              <a:rPr lang="it-IT" altLang="en-US" sz="1600" b="1" smtClean="0">
                <a:sym typeface="+mn-lt"/>
              </a:rPr>
              <a:pPr/>
              <a:t>22%</a:t>
            </a:fld>
            <a:endParaRPr lang="it-IT" sz="1600" b="1" noProof="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934325" y="4181475"/>
            <a:ext cx="8493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A5DF644-A69C-4837-ABB1-DEA43983FA15}" type="datetime'''7''''1''-''''1''''''''''''''''00'''' k''m'''''">
              <a:rPr lang="it-IT" altLang="en-US" sz="1400" smtClean="0"/>
              <a:pPr/>
              <a:t>71-100 km</a:t>
            </a:fld>
            <a:endParaRPr lang="it-IT" sz="1400" noProof="0" dirty="0"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018588" y="4181475"/>
            <a:ext cx="9477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BE095C-95C7-4704-AB52-C0251B08BAF2}" type="datetime'10''1''-''2''0''0'''' ''''''''k''''''''m'''''''''''''">
              <a:rPr lang="it-IT" altLang="en-US" sz="1400" smtClean="0"/>
              <a:pPr/>
              <a:t>101-200 km</a:t>
            </a:fld>
            <a:endParaRPr lang="it-IT" sz="1400" noProof="0" dirty="0"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154988" y="3197225"/>
            <a:ext cx="4064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AC9ECB-6863-4012-88C8-85E5D5C5ADA4}" type="datetime'''''''''''''''''''''''''''''''''''''10''''''''''''''''%'''''">
              <a:rPr lang="it-IT" altLang="en-US" sz="1600" b="1" smtClean="0">
                <a:sym typeface="+mn-lt"/>
              </a:rPr>
              <a:pPr/>
              <a:t>10%</a:t>
            </a:fld>
            <a:endParaRPr lang="it-IT" sz="1600" b="1" noProof="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854825" y="4181475"/>
            <a:ext cx="7508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C97F329-4735-4536-AAD4-F9E6B962E294}" type="datetime'''''5''''''''1''''''''-''''''7''0'''' ''k''m'''">
              <a:rPr lang="it-IT" altLang="en-US" sz="1400" smtClean="0"/>
              <a:pPr/>
              <a:t>51-70 km</a:t>
            </a:fld>
            <a:endParaRPr lang="it-IT" sz="1400" noProof="0" dirty="0"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641850" y="4181475"/>
            <a:ext cx="6524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4B7A8C-F5EE-45EC-93DA-CCB0E601EAD7}" type="datetime'9''''-''''''''''2''''5 ''''''''''''''km'''''''">
              <a:rPr lang="it-IT" altLang="en-US" sz="1400" smtClean="0"/>
              <a:pPr/>
              <a:t>9-25 km</a:t>
            </a:fld>
            <a:endParaRPr lang="it-IT" sz="1400" noProof="0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557588" y="4181475"/>
            <a:ext cx="5540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A86AF10-CAAD-4F3C-952B-D85F301D8CD4}" type="datetime'2''''''''''-8'' ''''''''''''''''''''''''''''''''''''''''''km'">
              <a:rPr lang="it-IT" altLang="en-US" sz="1400" smtClean="0"/>
              <a:pPr/>
              <a:t>2-8 km</a:t>
            </a:fld>
            <a:endParaRPr lang="it-IT" sz="1400" noProof="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26113" y="4181475"/>
            <a:ext cx="7508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9139BA-ACDA-4054-9BBC-872E89FFF545}" type="datetime'2''6''''''''''-''''''''50 k''''''''''''''''''m'''''''">
              <a:rPr lang="it-IT" altLang="en-US" sz="1400" smtClean="0"/>
              <a:pPr/>
              <a:t>26-50 km</a:t>
            </a:fld>
            <a:endParaRPr lang="it-IT" sz="1400" noProof="0" dirty="0"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554288" y="3635375"/>
            <a:ext cx="2936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F0ADEAB-A408-4FAE-968C-494AD5A29A87}" type="datetime'''''''''''''''''''''''''''''2''''''''''%'''''''''">
              <a:rPr lang="it-IT" altLang="en-US" sz="1600" b="1" smtClean="0">
                <a:sym typeface="+mn-lt"/>
              </a:rPr>
              <a:pPr/>
              <a:t>2%</a:t>
            </a:fld>
            <a:endParaRPr lang="it-IT" sz="1600" b="1" noProof="0" dirty="0"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026275" y="2921000"/>
            <a:ext cx="4064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05FB54-2E4A-48F8-9E25-8D0ACFBA7478}" type="datetime'''1''''''''''''''''''''''''''''''''''5''%'">
              <a:rPr lang="it-IT" altLang="en-US" sz="1600" b="1" smtClean="0">
                <a:sym typeface="+mn-lt"/>
              </a:rPr>
              <a:pPr/>
              <a:t>15%</a:t>
            </a:fld>
            <a:endParaRPr lang="it-IT" sz="1600" b="1" noProof="0" dirty="0"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479088" y="3473450"/>
            <a:ext cx="2936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5C5FD7E-CEC0-4919-A7CB-2A8D9DA2EEF5}" type="datetime'''''5''''''''''''''''''''''''''''''''''''%'''''''''">
              <a:rPr lang="it-IT" altLang="en-US" sz="1600" b="1" smtClean="0">
                <a:sym typeface="+mn-lt"/>
              </a:rPr>
              <a:pPr/>
              <a:t>5%</a:t>
            </a:fld>
            <a:endParaRPr lang="it-IT" sz="1600" b="1" noProof="0" dirty="0"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687763" y="3311525"/>
            <a:ext cx="2936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314BC2-0370-4BD7-B6A0-130AB4892C8D}" type="datetime'''''''''''''''''''8''''''''''''''''''''''''''''%'''''''''">
              <a:rPr lang="it-IT" altLang="en-US" sz="1600" b="1" smtClean="0">
                <a:sym typeface="+mn-lt"/>
              </a:rPr>
              <a:pPr/>
              <a:t>8%</a:t>
            </a:fld>
            <a:endParaRPr lang="it-IT" sz="1600" b="1" noProof="0" dirty="0"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97563" y="2263775"/>
            <a:ext cx="4064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284A5A9-077A-4D34-9D1F-E41BFF13A90F}" type="datetime'''''''''2''''''''''7''''''''''''%'''''''''''''''''''''''">
              <a:rPr lang="it-IT" altLang="en-US" sz="1600" b="1" smtClean="0">
                <a:sym typeface="+mn-lt"/>
              </a:rPr>
              <a:pPr/>
              <a:t>27%</a:t>
            </a:fld>
            <a:endParaRPr lang="it-IT" sz="1600" b="1" noProof="0" dirty="0"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288463" y="3035300"/>
            <a:ext cx="4064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8F4D99-5575-4C35-A81F-FFE9106B00C8}" type="datetime'1''''3''''%'''''''''''''''''''''''''''''''''''''''''''">
              <a:rPr lang="it-IT" altLang="en-US" sz="1600" b="1" smtClean="0">
                <a:sym typeface="+mn-lt"/>
              </a:rPr>
              <a:pPr/>
              <a:t>13%</a:t>
            </a:fld>
            <a:endParaRPr lang="it-IT" sz="1600" b="1" noProof="0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425700" y="4181475"/>
            <a:ext cx="549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F1E9765-B483-48B5-B244-5041BBE51F84}" type="datetime'''&lt;'''''''''''' ''''2'' ''''''''''''k''''''''''''m'''''''''''">
              <a:rPr lang="it-IT" altLang="en-US" sz="1400" smtClean="0"/>
              <a:pPr/>
              <a:t>&lt; 2 km</a:t>
            </a:fld>
            <a:endParaRPr lang="it-IT" sz="1400" noProof="0" dirty="0">
              <a:sym typeface="+mn-lt"/>
            </a:endParaRPr>
          </a:p>
        </p:txBody>
      </p:sp>
      <p:sp>
        <p:nvSpPr>
          <p:cNvPr id="62" name="Text Placeholder 6"/>
          <p:cNvSpPr txBox="1">
            <a:spLocks/>
          </p:cNvSpPr>
          <p:nvPr/>
        </p:nvSpPr>
        <p:spPr>
          <a:xfrm>
            <a:off x="2025650" y="1706014"/>
            <a:ext cx="8140700" cy="212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>
                <a:solidFill>
                  <a:schemeClr val="accent1"/>
                </a:solidFill>
              </a:rPr>
              <a:t>% di spostamenti giornalieri per </a:t>
            </a:r>
            <a:r>
              <a:rPr lang="it-IT" dirty="0" err="1" smtClean="0">
                <a:solidFill>
                  <a:schemeClr val="accent1"/>
                </a:solidFill>
              </a:rPr>
              <a:t>range</a:t>
            </a:r>
            <a:r>
              <a:rPr lang="it-IT" dirty="0" smtClean="0">
                <a:solidFill>
                  <a:schemeClr val="accent1"/>
                </a:solidFill>
              </a:rPr>
              <a:t> di distanza chilometrica percorsa</a:t>
            </a:r>
            <a:endParaRPr lang="it-IT" sz="1400" b="0" dirty="0" smtClean="0">
              <a:solidFill>
                <a:schemeClr val="accent1"/>
              </a:solidFill>
            </a:endParaRPr>
          </a:p>
          <a:p>
            <a:pPr algn="l"/>
            <a:endParaRPr lang="it-IT" sz="1400" b="0" dirty="0">
              <a:solidFill>
                <a:schemeClr val="accent1"/>
              </a:solidFill>
            </a:endParaRPr>
          </a:p>
        </p:txBody>
      </p:sp>
      <p:sp>
        <p:nvSpPr>
          <p:cNvPr id="66" name="Text Placeholder 5"/>
          <p:cNvSpPr txBox="1">
            <a:spLocks/>
          </p:cNvSpPr>
          <p:nvPr/>
        </p:nvSpPr>
        <p:spPr>
          <a:xfrm>
            <a:off x="503999" y="6511913"/>
            <a:ext cx="8135175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it-IT" i="0" dirty="0" smtClean="0">
                <a:solidFill>
                  <a:schemeClr val="tx2"/>
                </a:solidFill>
              </a:rPr>
              <a:t>Source: 2009 FHWA NHTS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335583" y="4650135"/>
            <a:ext cx="7648849" cy="5552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400" b="1" dirty="0" smtClean="0"/>
              <a:t>Nissan </a:t>
            </a:r>
            <a:r>
              <a:rPr lang="it-IT" sz="1400" b="1" dirty="0" err="1" smtClean="0"/>
              <a:t>Leaf</a:t>
            </a:r>
            <a:r>
              <a:rPr lang="it-IT" sz="1400" b="1" dirty="0" smtClean="0"/>
              <a:t> garantisce nel 95% dei casi l'autonomia degli spostamenti </a:t>
            </a:r>
            <a:endParaRPr lang="it-IT" sz="2000" b="1" dirty="0" smtClean="0"/>
          </a:p>
        </p:txBody>
      </p:sp>
      <p:pic>
        <p:nvPicPr>
          <p:cNvPr id="34" name="Picture 5" descr="Risultati immagini per nissan leaf enel"/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23392" y="4581128"/>
            <a:ext cx="1185663" cy="504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tangle 34"/>
          <p:cNvSpPr/>
          <p:nvPr/>
        </p:nvSpPr>
        <p:spPr>
          <a:xfrm>
            <a:off x="2335583" y="5325034"/>
            <a:ext cx="7288809" cy="5552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400" b="1" dirty="0" smtClean="0"/>
              <a:t>Altri modelli quali, BMW i3, Renault Zoe e Smart garantiscono nel ~90% dei casi l'autonomia degli spostamenti </a:t>
            </a:r>
            <a:endParaRPr lang="it-IT" sz="2000" b="1" dirty="0" smtClean="0"/>
          </a:p>
        </p:txBody>
      </p:sp>
      <p:cxnSp>
        <p:nvCxnSpPr>
          <p:cNvPr id="37" name="Straight Connector 43"/>
          <p:cNvCxnSpPr/>
          <p:nvPr/>
        </p:nvCxnSpPr>
        <p:spPr>
          <a:xfrm>
            <a:off x="10056440" y="2124855"/>
            <a:ext cx="0" cy="4130729"/>
          </a:xfrm>
          <a:prstGeom prst="line">
            <a:avLst/>
          </a:prstGeom>
          <a:ln w="31750">
            <a:solidFill>
              <a:schemeClr val="accent4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5183" name="Picture 191" descr="Risultati immagini per renault zoe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066" y="5318626"/>
            <a:ext cx="698041" cy="443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5185" name="Picture 193" descr="Risultati immagini per bmw i3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519" y="5346003"/>
            <a:ext cx="770921" cy="428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800943" y="5013176"/>
            <a:ext cx="936104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800" i="1" dirty="0" smtClean="0">
                <a:solidFill>
                  <a:schemeClr val="tx1"/>
                </a:solidFill>
              </a:rPr>
              <a:t>Nissan </a:t>
            </a:r>
            <a:r>
              <a:rPr lang="it-IT" sz="800" i="1" dirty="0" err="1" smtClean="0">
                <a:solidFill>
                  <a:schemeClr val="tx1"/>
                </a:solidFill>
              </a:rPr>
              <a:t>Leaf</a:t>
            </a:r>
            <a:endParaRPr lang="it-IT" sz="800" i="1" dirty="0" smtClean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983432" y="5750674"/>
            <a:ext cx="703309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800" i="1" dirty="0" smtClean="0">
                <a:solidFill>
                  <a:schemeClr val="tx1"/>
                </a:solidFill>
              </a:rPr>
              <a:t>Renault Zo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571111" y="5750674"/>
            <a:ext cx="703309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800" i="1" dirty="0" smtClean="0">
                <a:solidFill>
                  <a:schemeClr val="tx1"/>
                </a:solidFill>
              </a:rPr>
              <a:t>Smart elettrica</a:t>
            </a:r>
          </a:p>
        </p:txBody>
      </p:sp>
      <p:sp>
        <p:nvSpPr>
          <p:cNvPr id="41" name="Rectangle 40"/>
          <p:cNvSpPr/>
          <p:nvPr/>
        </p:nvSpPr>
        <p:spPr>
          <a:xfrm>
            <a:off x="405776" y="5750674"/>
            <a:ext cx="528406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800" i="1" dirty="0" smtClean="0">
                <a:solidFill>
                  <a:schemeClr val="tx1"/>
                </a:solidFill>
              </a:rPr>
              <a:t>BMW i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5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03470" y="110701"/>
            <a:ext cx="604611" cy="401017"/>
            <a:chOff x="4180114" y="89807"/>
            <a:chExt cx="604611" cy="401017"/>
          </a:xfrm>
        </p:grpSpPr>
        <p:sp>
          <p:nvSpPr>
            <p:cNvPr id="3" name="Rectangle 2"/>
            <p:cNvSpPr/>
            <p:nvPr/>
          </p:nvSpPr>
          <p:spPr>
            <a:xfrm>
              <a:off x="4180114" y="89807"/>
              <a:ext cx="285750" cy="17961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498975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180114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498975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213225" y="105094"/>
              <a:ext cx="37850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5450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71509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9" name="think-cell Slide" r:id="rId53" imgW="592" imgH="584" progId="TCLayout.ActiveDocument.1">
                  <p:embed/>
                </p:oleObj>
              </mc:Choice>
              <mc:Fallback>
                <p:oleObj name="think-cell Slide" r:id="rId53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t-IT" sz="1200" b="1" dirty="0" err="1" smtClean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61999" y="670120"/>
            <a:ext cx="8375651" cy="415245"/>
          </a:xfrm>
        </p:spPr>
        <p:txBody>
          <a:bodyPr/>
          <a:lstStyle/>
          <a:p>
            <a:r>
              <a:rPr lang="it-IT" dirty="0" smtClean="0"/>
              <a:t>La diminuzione del costo delle batterie contribuirà alla riduzione del prezzo delle auto</a:t>
            </a:r>
            <a:endParaRPr lang="it-IT" dirty="0"/>
          </a:p>
        </p:txBody>
      </p:sp>
      <p:sp>
        <p:nvSpPr>
          <p:cNvPr id="24" name="Text Placeholder 5"/>
          <p:cNvSpPr txBox="1">
            <a:spLocks/>
          </p:cNvSpPr>
          <p:nvPr/>
        </p:nvSpPr>
        <p:spPr>
          <a:xfrm>
            <a:off x="503999" y="6597352"/>
            <a:ext cx="8135175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it-IT" i="0" dirty="0" smtClean="0">
                <a:solidFill>
                  <a:schemeClr val="tx2"/>
                </a:solidFill>
              </a:rPr>
              <a:t>Source: BNE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851025" y="6118225"/>
            <a:ext cx="8961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ggi</a:t>
            </a:r>
          </a:p>
        </p:txBody>
      </p:sp>
      <p:sp>
        <p:nvSpPr>
          <p:cNvPr id="53" name="Text Placeholder 6"/>
          <p:cNvSpPr txBox="1">
            <a:spLocks/>
          </p:cNvSpPr>
          <p:nvPr/>
        </p:nvSpPr>
        <p:spPr>
          <a:xfrm>
            <a:off x="766763" y="1714724"/>
            <a:ext cx="3912563" cy="212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>
                <a:solidFill>
                  <a:schemeClr val="accent1"/>
                </a:solidFill>
              </a:rPr>
              <a:t>Prezzo delle batterie al litio</a:t>
            </a:r>
          </a:p>
          <a:p>
            <a:pPr>
              <a:spcBef>
                <a:spcPts val="0"/>
              </a:spcBef>
            </a:pPr>
            <a:r>
              <a:rPr lang="it-IT" sz="1400" b="0" i="1" dirty="0" smtClean="0">
                <a:solidFill>
                  <a:schemeClr val="accent1"/>
                </a:solidFill>
              </a:rPr>
              <a:t>$/kWh</a:t>
            </a:r>
            <a:endParaRPr lang="it-IT" sz="1200" b="0" i="1" dirty="0" smtClean="0">
              <a:solidFill>
                <a:schemeClr val="accent1"/>
              </a:solidFill>
            </a:endParaRPr>
          </a:p>
          <a:p>
            <a:endParaRPr lang="it-IT" sz="1400" b="0" dirty="0">
              <a:solidFill>
                <a:schemeClr val="accent1"/>
              </a:solidFill>
            </a:endParaRPr>
          </a:p>
        </p:txBody>
      </p:sp>
      <p:graphicFrame>
        <p:nvGraphicFramePr>
          <p:cNvPr id="54" name="Object 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88847133"/>
              </p:ext>
            </p:extLst>
          </p:nvPr>
        </p:nvGraphicFramePr>
        <p:xfrm>
          <a:off x="838200" y="2667000"/>
          <a:ext cx="3933991" cy="347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0" name="Chart" r:id="rId55" imgW="3933991" imgH="3476538" progId="MSGraph.Chart.8">
                  <p:embed followColorScheme="full"/>
                </p:oleObj>
              </mc:Choice>
              <mc:Fallback>
                <p:oleObj name="Chart" r:id="rId55" imgW="3933991" imgH="347653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838200" y="2667000"/>
                        <a:ext cx="3933991" cy="34765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90575" y="3397250"/>
            <a:ext cx="2238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C7D2107-F7BF-49DF-A3A7-32B0D8E251DE}" type="datetime'''''''''''''''''''''6''''''''''''''''''0''''''''''''0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600</a:t>
            </a:fld>
            <a:endParaRPr lang="it-IT" sz="1050" noProof="0" dirty="0">
              <a:sym typeface="+mn-lt"/>
            </a:endParaRPr>
          </a:p>
        </p:txBody>
      </p:sp>
      <p:sp>
        <p:nvSpPr>
          <p:cNvPr id="10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90575" y="4826000"/>
            <a:ext cx="2238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211FEF-E4F7-4C67-9366-BBB9BE3159F0}" type="datetime'''2''''''''0''''''''''''''''''''''''''''''''''''''''0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it-IT" sz="1050" noProof="0" dirty="0">
              <a:sym typeface="+mn-lt"/>
            </a:endParaRPr>
          </a:p>
        </p:txBody>
      </p:sp>
      <p:sp>
        <p:nvSpPr>
          <p:cNvPr id="9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90575" y="5187950"/>
            <a:ext cx="2238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689C33F-8523-43D5-B46E-9B0AAEDEC6D5}" type="datetime'''''''''''1''''''''''0''''''''0''''''''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it-IT" sz="1050" noProof="0" dirty="0">
              <a:sym typeface="+mn-lt"/>
            </a:endParaRPr>
          </a:p>
        </p:txBody>
      </p:sp>
      <p:sp>
        <p:nvSpPr>
          <p:cNvPr id="10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90575" y="2682875"/>
            <a:ext cx="2238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485C1DC-9B45-4417-8954-D8C9DEFB9B1A}" type="datetime'''''''''''''''''''''''''''''''8''''''''''''''''''''''00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800</a:t>
            </a:fld>
            <a:endParaRPr lang="it-IT" sz="1050" noProof="0" dirty="0">
              <a:sym typeface="+mn-lt"/>
            </a:endParaRPr>
          </a:p>
        </p:txBody>
      </p:sp>
      <p:sp>
        <p:nvSpPr>
          <p:cNvPr id="10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90575" y="3044825"/>
            <a:ext cx="2238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F1F7D1C-4443-47AB-867A-A1803AD87959}" type="datetime'''7''''0''''0''''''''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700</a:t>
            </a:fld>
            <a:endParaRPr lang="it-IT" sz="1050" noProof="0" dirty="0">
              <a:sym typeface="+mn-lt"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939800" y="5540375"/>
            <a:ext cx="7461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CC673D4-7FB1-4E71-BD1B-91FBADB854CE}" type="datetime'''''''''''''''''''''''''0''''''''''''''''''''''''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it-IT" sz="1050" noProof="0" dirty="0">
              <a:sym typeface="+mn-lt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90575" y="4111625"/>
            <a:ext cx="2238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70E2C2E-523D-4274-84E1-1A1898F74FF3}" type="datetime'''40''''''''''''''''''''''''''''''0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400</a:t>
            </a:fld>
            <a:endParaRPr lang="it-IT" sz="1050" noProof="0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90575" y="4473575"/>
            <a:ext cx="2238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F9FEE7-F629-497C-9296-4D4DA38891E1}" type="datetime'''''''''''''3''''''0''''''''0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300</a:t>
            </a:fld>
            <a:endParaRPr lang="it-IT" sz="1050" noProof="0" dirty="0">
              <a:sym typeface="+mn-lt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90575" y="3759200"/>
            <a:ext cx="223838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AF48911-D7D4-47FF-8B6C-658B2F8EE4F8}" type="datetime'''''''''''''''5''''''''''0''0''''''''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lang="it-IT" sz="1050" noProof="0" dirty="0"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00113" y="2378075"/>
            <a:ext cx="449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it-IT" altLang="en-US" sz="1200" b="1" dirty="0" smtClean="0">
                <a:sym typeface="+mn-lt"/>
              </a:rPr>
              <a:t>$/kWh</a:t>
            </a:r>
            <a:endParaRPr lang="it-IT" sz="1200" b="1" noProof="0" dirty="0">
              <a:sym typeface="+mn-lt"/>
            </a:endParaRPr>
          </a:p>
        </p:txBody>
      </p:sp>
      <p:cxnSp>
        <p:nvCxnSpPr>
          <p:cNvPr id="56" name="Straight Connector 41"/>
          <p:cNvCxnSpPr/>
          <p:nvPr/>
        </p:nvCxnSpPr>
        <p:spPr>
          <a:xfrm>
            <a:off x="2298700" y="4681538"/>
            <a:ext cx="0" cy="1294809"/>
          </a:xfrm>
          <a:prstGeom prst="line">
            <a:avLst/>
          </a:prstGeom>
          <a:ln w="19050">
            <a:solidFill>
              <a:srgbClr val="0070C0"/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13"/>
          <p:cNvSpPr txBox="1"/>
          <p:nvPr/>
        </p:nvSpPr>
        <p:spPr>
          <a:xfrm>
            <a:off x="1851025" y="6118225"/>
            <a:ext cx="8961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dirty="0" smtClean="0">
                <a:solidFill>
                  <a:srgbClr val="0070C0"/>
                </a:solidFill>
              </a:rPr>
              <a:t>oggi</a:t>
            </a:r>
          </a:p>
        </p:txBody>
      </p:sp>
      <p:sp>
        <p:nvSpPr>
          <p:cNvPr id="59" name="TextBox 43"/>
          <p:cNvSpPr txBox="1"/>
          <p:nvPr/>
        </p:nvSpPr>
        <p:spPr>
          <a:xfrm>
            <a:off x="2074863" y="4322763"/>
            <a:ext cx="89611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 270 $/kWh</a:t>
            </a:r>
            <a:endParaRPr lang="it-IT" sz="1200" b="1" dirty="0" smtClean="0">
              <a:solidFill>
                <a:srgbClr val="0070C0"/>
              </a:solidFill>
            </a:endParaRPr>
          </a:p>
        </p:txBody>
      </p:sp>
      <p:cxnSp>
        <p:nvCxnSpPr>
          <p:cNvPr id="60" name="Straight Connector 44"/>
          <p:cNvCxnSpPr/>
          <p:nvPr/>
        </p:nvCxnSpPr>
        <p:spPr>
          <a:xfrm flipV="1">
            <a:off x="3651250" y="4608513"/>
            <a:ext cx="386312" cy="630937"/>
          </a:xfrm>
          <a:prstGeom prst="line">
            <a:avLst/>
          </a:prstGeom>
          <a:ln w="19050">
            <a:solidFill>
              <a:srgbClr val="0070C0"/>
            </a:solidFill>
            <a:prstDash val="dash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47"/>
          <p:cNvSpPr/>
          <p:nvPr/>
        </p:nvSpPr>
        <p:spPr>
          <a:xfrm>
            <a:off x="2208213" y="4567238"/>
            <a:ext cx="184933" cy="18493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2" name="Oval 48"/>
          <p:cNvSpPr/>
          <p:nvPr/>
        </p:nvSpPr>
        <p:spPr>
          <a:xfrm>
            <a:off x="3554413" y="5154613"/>
            <a:ext cx="184933" cy="184933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smtClean="0"/>
          </a:p>
        </p:txBody>
      </p:sp>
      <p:sp>
        <p:nvSpPr>
          <p:cNvPr id="63" name="TextBox 49"/>
          <p:cNvSpPr txBox="1"/>
          <p:nvPr/>
        </p:nvSpPr>
        <p:spPr>
          <a:xfrm>
            <a:off x="3397250" y="4216400"/>
            <a:ext cx="128207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l 2025 sarà            ~ 110 $/kWh</a:t>
            </a:r>
            <a:endParaRPr lang="it-IT" sz="1200" b="1" dirty="0" smtClean="0">
              <a:solidFill>
                <a:srgbClr val="0070C0"/>
              </a:solidFill>
            </a:endParaRPr>
          </a:p>
        </p:txBody>
      </p:sp>
      <p:sp>
        <p:nvSpPr>
          <p:cNvPr id="64" name="Text Placeholder 6"/>
          <p:cNvSpPr txBox="1">
            <a:spLocks/>
          </p:cNvSpPr>
          <p:nvPr/>
        </p:nvSpPr>
        <p:spPr>
          <a:xfrm>
            <a:off x="5295727" y="1714724"/>
            <a:ext cx="5977111" cy="212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>
                <a:solidFill>
                  <a:schemeClr val="accent1"/>
                </a:solidFill>
              </a:rPr>
              <a:t>Confronto evoluzione costo auto elettrica vs auto a benzina</a:t>
            </a:r>
          </a:p>
          <a:p>
            <a:pPr>
              <a:spcBef>
                <a:spcPts val="0"/>
              </a:spcBef>
            </a:pPr>
            <a:r>
              <a:rPr lang="it-IT" sz="1400" b="0" i="1" dirty="0" smtClean="0">
                <a:solidFill>
                  <a:schemeClr val="accent1"/>
                </a:solidFill>
              </a:rPr>
              <a:t>k$</a:t>
            </a:r>
            <a:endParaRPr lang="it-IT" sz="1200" b="0" i="1" dirty="0" smtClean="0">
              <a:solidFill>
                <a:schemeClr val="accent1"/>
              </a:solidFill>
            </a:endParaRPr>
          </a:p>
          <a:p>
            <a:endParaRPr lang="it-IT" sz="1400" b="0" dirty="0">
              <a:solidFill>
                <a:schemeClr val="accent1"/>
              </a:solidFill>
            </a:endParaRPr>
          </a:p>
        </p:txBody>
      </p:sp>
      <p:graphicFrame>
        <p:nvGraphicFramePr>
          <p:cNvPr id="65" name="Object 85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79119360"/>
              </p:ext>
            </p:extLst>
          </p:nvPr>
        </p:nvGraphicFramePr>
        <p:xfrm>
          <a:off x="5372100" y="2666999"/>
          <a:ext cx="6096000" cy="31147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1" name="Chart" r:id="rId57" imgW="6096000" imgH="3114740" progId="MSGraph.Chart.8">
                  <p:embed followColorScheme="full"/>
                </p:oleObj>
              </mc:Choice>
              <mc:Fallback>
                <p:oleObj name="Chart" r:id="rId57" imgW="6096000" imgH="31147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5372100" y="2666999"/>
                        <a:ext cx="6096000" cy="31147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275263" y="3321050"/>
            <a:ext cx="1492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FA9E1EB-9A4D-4AE8-83C8-E9EA25B556A6}" type="datetime'''''''''''''''''''3''5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it-IT" sz="1050" noProof="0" dirty="0">
              <a:sym typeface="+mn-lt"/>
            </a:endParaRP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349875" y="5540375"/>
            <a:ext cx="7461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F54D4C8-0899-41FE-B60F-29CB42534F1E}" type="datetime'''''''''''''''0''''''''''''''''''''''''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it-IT" sz="1050" noProof="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275263" y="3635375"/>
            <a:ext cx="1492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9197BA2-25D4-4C51-AE61-428350D8FB06}" type="datetime'''''''''''''''''''''''''''''''''3''''''''''''''''''''''0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it-IT" sz="1050" noProof="0" dirty="0">
              <a:sym typeface="+mn-l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275263" y="4273550"/>
            <a:ext cx="1492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DA10999-50FC-418D-BFD9-F673BBA1CDC6}" type="datetime'''''''''''''''''''''2''''''''0''''''''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it-IT" sz="1050" noProof="0" dirty="0">
              <a:sym typeface="+mn-lt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275263" y="4587875"/>
            <a:ext cx="1492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BD0493D-0833-440B-AD28-596D9DECC5A8}" type="datetime'''''''''''''''1''''''''''''''''''''''''''5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it-IT" sz="1050" noProof="0" dirty="0">
              <a:sym typeface="+mn-lt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349875" y="5226050"/>
            <a:ext cx="74613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0314F79-B3BF-4218-AC2F-C05C8F47F61F}" type="datetime'''''''''''''''''''''5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it-IT" sz="1050" noProof="0" dirty="0">
              <a:sym typeface="+mn-lt"/>
            </a:endParaRPr>
          </a:p>
        </p:txBody>
      </p:sp>
      <p:sp>
        <p:nvSpPr>
          <p:cNvPr id="12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275263" y="4902200"/>
            <a:ext cx="1492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8A5F470-1514-4975-B5FF-9215A8F1BC0D}" type="datetime'''''''''''''''''''''''''''1''''''''''''''0''''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it-IT" sz="1050" noProof="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275263" y="2682875"/>
            <a:ext cx="1492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4CDA39A-893E-4EF6-BC7C-4B8E63953B40}" type="datetime'''4''''''''''''''''''''''''''5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it-IT" sz="1050" noProof="0" dirty="0"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75263" y="2997200"/>
            <a:ext cx="1492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0EC46FF-A230-4F2F-979C-D70E28BFA2AF}" type="datetime'''''''''''''''''''40''''''''''''''''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it-IT" sz="1050" noProof="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75263" y="3949700"/>
            <a:ext cx="149225" cy="160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F6D09A8-A150-43FB-9AD0-63638824B37D}" type="datetime'''''''''''''''''''''''''''2''''''''''''''''''''''''''''''''5'">
              <a:rPr lang="it-IT" altLang="en-US" sz="105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it-IT" sz="1050" noProof="0" dirty="0"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726113" y="57594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0FEF2C-91F6-40F1-BE8E-902D652878C3}" type="datetime'''''2''''''''''''''''''''0''''''''''1''''''''6'''''''">
              <a:rPr lang="it-IT" altLang="en-US" sz="1200" smtClean="0"/>
              <a:pPr/>
              <a:t>2016</a:t>
            </a:fld>
            <a:endParaRPr lang="it-IT" sz="1200" noProof="0" dirty="0"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273925" y="3192463"/>
            <a:ext cx="168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2F030F6-6633-45C9-84AE-966545C4C680}" type="datetime'''''''''''''3''''''''''''5'''''''''''''''''''''">
              <a:rPr lang="it-IT" altLang="en-US" sz="1200" b="1" smtClean="0"/>
              <a:pPr/>
              <a:t>35</a:t>
            </a:fld>
            <a:endParaRPr lang="it-IT" sz="1200" b="1" noProof="0" dirty="0"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816600" y="2620963"/>
            <a:ext cx="168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CFC262F-441B-46DF-A294-942A35483179}" type="datetime'''4''''''4'''''''''''''''''''''">
              <a:rPr lang="it-IT" altLang="en-US" sz="1200" b="1" smtClean="0"/>
              <a:pPr/>
              <a:t>44</a:t>
            </a:fld>
            <a:endParaRPr lang="it-IT" sz="1200" b="1" noProof="0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454775" y="57594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360A949-E56B-46AC-95AD-16FB9D96FE96}" type="datetime'''''''''''''''''''''''''''''''201''8'">
              <a:rPr lang="it-IT" altLang="en-US" sz="1200" smtClean="0"/>
              <a:pPr/>
              <a:t>2018</a:t>
            </a:fld>
            <a:endParaRPr lang="it-IT" sz="1200" noProof="0" dirty="0">
              <a:sym typeface="+mn-lt"/>
            </a:endParaRPr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545263" y="3001963"/>
            <a:ext cx="168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E05DB85-52AF-49D1-A73B-66C574CE8789}" type="datetime'3''''''''''''''''''''''''''8'''''''''''''''''''''">
              <a:rPr lang="it-IT" altLang="en-US" sz="1200" b="1" smtClean="0"/>
              <a:pPr/>
              <a:t>38</a:t>
            </a:fld>
            <a:endParaRPr lang="it-IT" sz="1200" b="1" noProof="0" dirty="0">
              <a:sym typeface="+mn-lt"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0917238" y="3725863"/>
            <a:ext cx="168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7C7DD1-1F2F-45FE-84A0-AB4A47ABC230}" type="datetime'''''''''2''''''''''''''''''''''''7'''''''">
              <a:rPr lang="it-IT" altLang="en-US" sz="1200" b="1" smtClean="0"/>
              <a:pPr/>
              <a:t>27</a:t>
            </a:fld>
            <a:endParaRPr lang="it-IT" sz="1200" b="1" noProof="0" dirty="0">
              <a:sym typeface="+mn-lt"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449888" y="2452688"/>
            <a:ext cx="168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it-IT" altLang="en-US" sz="1200" b="1" dirty="0" smtClean="0">
                <a:sym typeface="+mn-lt"/>
              </a:rPr>
              <a:t>k$</a:t>
            </a:r>
            <a:endParaRPr lang="it-IT" sz="1200" b="1" noProof="0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826750" y="57594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555BB3F-5AA2-42BA-B073-80F3D54E7613}" type="datetime'''''''''''''''''''''''''''''''''''20''''''''''''''''30'''">
              <a:rPr lang="it-IT" altLang="en-US" sz="1200" smtClean="0"/>
              <a:pPr/>
              <a:t>2030</a:t>
            </a:fld>
            <a:endParaRPr lang="it-IT" sz="1200" noProof="0" dirty="0">
              <a:sym typeface="+mn-lt"/>
            </a:endParaRPr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098088" y="57594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EDD2EEA-2856-4ACB-B7DD-E4B3F509C4A5}" type="datetime'''''''''20''''2''8'''''''''''''''''''''''''''''''''''''''''">
              <a:rPr lang="it-IT" altLang="en-US" sz="1200" smtClean="0"/>
              <a:pPr/>
              <a:t>2028</a:t>
            </a:fld>
            <a:endParaRPr lang="it-IT" sz="1200" noProof="0" dirty="0">
              <a:sym typeface="+mn-lt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002588" y="3382963"/>
            <a:ext cx="168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3DBE406-A3EC-4C6A-BC04-77EF22C9A1A8}" type="datetime'''''''''''''3''''''''''''''''''''''''2'''''''''''''''''''">
              <a:rPr lang="it-IT" altLang="en-US" sz="1200" b="1" smtClean="0"/>
              <a:pPr/>
              <a:t>32</a:t>
            </a:fld>
            <a:endParaRPr lang="it-IT" sz="1200" b="1" noProof="0" dirty="0">
              <a:sym typeface="+mn-lt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9369425" y="57594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7C98CB5-5804-4F09-B15F-47E1D4858B09}" type="datetime'2''''''''''0''''''''''''''''''''''''2''6'''''''''''''">
              <a:rPr lang="it-IT" altLang="en-US" sz="1200" smtClean="0"/>
              <a:pPr/>
              <a:t>2026</a:t>
            </a:fld>
            <a:endParaRPr lang="it-IT" sz="1200" noProof="0" dirty="0">
              <a:sym typeface="+mn-lt"/>
            </a:endParaRPr>
          </a:p>
        </p:txBody>
      </p:sp>
      <p:sp>
        <p:nvSpPr>
          <p:cNvPr id="77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640763" y="57594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592866F-17C3-427E-AF4D-2472D29F9487}" type="datetime'''''''''''''''''''''''''''''2''''''''0''''24'''''''''''''">
              <a:rPr lang="it-IT" altLang="en-US" sz="1200" smtClean="0"/>
              <a:pPr/>
              <a:t>2024</a:t>
            </a:fld>
            <a:endParaRPr lang="it-IT" sz="1200" noProof="0" dirty="0">
              <a:sym typeface="+mn-lt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188575" y="3668713"/>
            <a:ext cx="168275" cy="182563"/>
          </a:xfrm>
          <a:prstGeom prst="rect">
            <a:avLst/>
          </a:prstGeom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8D7268-16F6-4FF8-8623-08A8332FFCD7}" type="datetime'''''''''''2''''''8'''''''''">
              <a:rPr lang="it-IT" altLang="en-US" sz="1200" b="1" smtClean="0"/>
              <a:pPr/>
              <a:t>28</a:t>
            </a:fld>
            <a:endParaRPr lang="it-IT" sz="1200" b="1" noProof="0" dirty="0">
              <a:sym typeface="+mn-lt"/>
            </a:endParaRPr>
          </a:p>
        </p:txBody>
      </p:sp>
      <p:sp useBgFill="1">
        <p:nvSpPr>
          <p:cNvPr id="79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9459913" y="3602038"/>
            <a:ext cx="168275" cy="182563"/>
          </a:xfrm>
          <a:prstGeom prst="rect">
            <a:avLst/>
          </a:prstGeom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E7CE307-3592-498C-9AD1-2814F4B72EE8}" type="datetime'''''''''''''''''''''''''''''''''''''29'''''''''''''''''''''">
              <a:rPr lang="it-IT" altLang="en-US" sz="1200" b="1" smtClean="0"/>
              <a:pPr/>
              <a:t>29</a:t>
            </a:fld>
            <a:endParaRPr lang="it-IT" sz="1200" b="1" noProof="0" dirty="0">
              <a:sym typeface="+mn-lt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731250" y="3535363"/>
            <a:ext cx="168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027B6BB-93E1-4011-B99B-DE5BEE49737E}" type="datetime'''''''''''''3''''''''''''''''''''''''''''0'''''''''''''''''''">
              <a:rPr lang="it-IT" altLang="en-US" sz="1200" b="1" smtClean="0"/>
              <a:pPr/>
              <a:t>30</a:t>
            </a:fld>
            <a:endParaRPr lang="it-IT" sz="1200" b="1" noProof="0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912100" y="57594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CC3B26-DACA-4908-99D7-A01FD282CF1D}" type="datetime'''20''''''''''''''''''''22'''''''''''''''''''''''''''''">
              <a:rPr lang="it-IT" altLang="en-US" sz="1200" smtClean="0"/>
              <a:pPr/>
              <a:t>2022</a:t>
            </a:fld>
            <a:endParaRPr lang="it-IT" sz="1200" noProof="0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183438" y="57594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AF63DE-B87D-411D-95CA-8271284FA123}" type="datetime'''''''''''''''''''''''''''2''02''''0'''''''''''''''">
              <a:rPr lang="it-IT" altLang="en-US" sz="1200" smtClean="0"/>
              <a:pPr/>
              <a:t>2020</a:t>
            </a:fld>
            <a:endParaRPr lang="it-IT" sz="1200" noProof="0" dirty="0">
              <a:sym typeface="+mn-lt"/>
            </a:endParaRPr>
          </a:p>
        </p:txBody>
      </p:sp>
      <p:cxnSp>
        <p:nvCxnSpPr>
          <p:cNvPr id="83" name="Straight Connector 134"/>
          <p:cNvCxnSpPr/>
          <p:nvPr>
            <p:custDataLst>
              <p:tags r:id="rId43"/>
            </p:custDataLst>
          </p:nvPr>
        </p:nvCxnSpPr>
        <p:spPr bwMode="gray">
          <a:xfrm>
            <a:off x="10053638" y="2581275"/>
            <a:ext cx="328613" cy="0"/>
          </a:xfrm>
          <a:prstGeom prst="line">
            <a:avLst/>
          </a:prstGeom>
          <a:ln w="28575">
            <a:solidFill>
              <a:srgbClr val="292C6B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Rectangle 137"/>
          <p:cNvSpPr/>
          <p:nvPr>
            <p:custDataLst>
              <p:tags r:id="rId44"/>
            </p:custDataLst>
          </p:nvPr>
        </p:nvSpPr>
        <p:spPr bwMode="auto">
          <a:xfrm>
            <a:off x="10202863" y="3124200"/>
            <a:ext cx="179388" cy="133350"/>
          </a:xfrm>
          <a:prstGeom prst="rect">
            <a:avLst/>
          </a:prstGeom>
          <a:solidFill>
            <a:schemeClr val="tx2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94" name="Rectangle 136"/>
          <p:cNvSpPr/>
          <p:nvPr>
            <p:custDataLst>
              <p:tags r:id="rId45"/>
            </p:custDataLst>
          </p:nvPr>
        </p:nvSpPr>
        <p:spPr bwMode="auto">
          <a:xfrm>
            <a:off x="10202863" y="2921000"/>
            <a:ext cx="179388" cy="133350"/>
          </a:xfrm>
          <a:prstGeom prst="rect">
            <a:avLst/>
          </a:prstGeom>
          <a:solidFill>
            <a:srgbClr val="1A95C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85" name="Rectangle 135"/>
          <p:cNvSpPr/>
          <p:nvPr>
            <p:custDataLst>
              <p:tags r:id="rId46"/>
            </p:custDataLst>
          </p:nvPr>
        </p:nvSpPr>
        <p:spPr bwMode="auto">
          <a:xfrm>
            <a:off x="10202863" y="2717800"/>
            <a:ext cx="179388" cy="133350"/>
          </a:xfrm>
          <a:prstGeom prst="rect">
            <a:avLst/>
          </a:prstGeom>
          <a:solidFill>
            <a:srgbClr val="865AA3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 smtClean="0"/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0433050" y="3119438"/>
            <a:ext cx="414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544830-CDFE-4DF3-9265-BC5152B2D282}" type="datetime'''''''''''''''''''V''''e''''''i''c''''o''l''o'''''''''''''">
              <a:rPr lang="it-IT" altLang="en-US" sz="10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Veicolo</a:t>
            </a:fld>
            <a:endParaRPr lang="it-IT" sz="1000" noProof="0" dirty="0">
              <a:sym typeface="+mn-lt"/>
            </a:endParaRPr>
          </a:p>
        </p:txBody>
      </p:sp>
      <p:sp>
        <p:nvSpPr>
          <p:cNvPr id="95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0433050" y="2916238"/>
            <a:ext cx="3937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FD3224D-5CA9-487B-94A8-66A56AB463D4}" type="datetime'''''''''''''''''Mot''''''''''''o''''''''''''''''''r''''''e'''">
              <a:rPr lang="it-IT" altLang="en-US" sz="10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Motore</a:t>
            </a:fld>
            <a:endParaRPr lang="it-IT" sz="1000" noProof="0" dirty="0">
              <a:sym typeface="+mn-lt"/>
            </a:endParaRPr>
          </a:p>
        </p:txBody>
      </p:sp>
      <p:sp>
        <p:nvSpPr>
          <p:cNvPr id="96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433050" y="2509838"/>
            <a:ext cx="8397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3F99825-6E1E-45E1-A555-76572B3B6117}" type="datetime'''Au''''t''''o ''''''a'''' b''en''''''''zi''''''''''''n''a'">
              <a:rPr lang="it-IT" altLang="en-US" sz="10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uto a benzina</a:t>
            </a:fld>
            <a:endParaRPr lang="it-IT" sz="1000" noProof="0" dirty="0"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0433050" y="2713038"/>
            <a:ext cx="4349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>
                <a:tab pos="1057275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ucida Grande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CB261B-DDC4-4067-84CA-B500FB7F64DB}" type="datetime'''''''''''''''B''a''t''''''''t''''''''e''''ri''a'''">
              <a:rPr lang="it-IT" altLang="en-US" sz="100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Batteria</a:t>
            </a:fld>
            <a:endParaRPr lang="it-IT" sz="1000" noProof="0" dirty="0">
              <a:sym typeface="+mn-lt"/>
            </a:endParaRPr>
          </a:p>
        </p:txBody>
      </p:sp>
      <p:sp>
        <p:nvSpPr>
          <p:cNvPr id="99" name="Rectangular Callout 138"/>
          <p:cNvSpPr/>
          <p:nvPr/>
        </p:nvSpPr>
        <p:spPr>
          <a:xfrm>
            <a:off x="7712865" y="2284997"/>
            <a:ext cx="1796158" cy="852204"/>
          </a:xfrm>
          <a:prstGeom prst="wedgeRectCallout">
            <a:avLst>
              <a:gd name="adj1" fmla="val 15747"/>
              <a:gd name="adj2" fmla="val 69452"/>
            </a:avLst>
          </a:prstGeom>
          <a:solidFill>
            <a:schemeClr val="bg1"/>
          </a:solidFill>
          <a:ln w="28575">
            <a:solidFill>
              <a:schemeClr val="accent4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it-IT" sz="1200" dirty="0" smtClean="0">
                <a:solidFill>
                  <a:schemeClr val="tx1"/>
                </a:solidFill>
              </a:rPr>
              <a:t>A partire dal 2024, </a:t>
            </a:r>
            <a:r>
              <a:rPr lang="it-IT" sz="1200" b="1" dirty="0" smtClean="0">
                <a:solidFill>
                  <a:schemeClr val="tx1"/>
                </a:solidFill>
              </a:rPr>
              <a:t>si raggiungerà la </a:t>
            </a:r>
            <a:r>
              <a:rPr lang="it-IT" sz="1200" b="1" dirty="0" err="1" smtClean="0">
                <a:solidFill>
                  <a:schemeClr val="tx1"/>
                </a:solidFill>
              </a:rPr>
              <a:t>cost</a:t>
            </a:r>
            <a:r>
              <a:rPr lang="it-IT" sz="1200" b="1" dirty="0" smtClean="0">
                <a:solidFill>
                  <a:schemeClr val="tx1"/>
                </a:solidFill>
              </a:rPr>
              <a:t> </a:t>
            </a:r>
            <a:r>
              <a:rPr lang="it-IT" sz="1200" b="1" dirty="0" err="1" smtClean="0">
                <a:solidFill>
                  <a:schemeClr val="tx1"/>
                </a:solidFill>
              </a:rPr>
              <a:t>parity</a:t>
            </a:r>
            <a:r>
              <a:rPr lang="it-IT" sz="1200" b="1" dirty="0" smtClean="0">
                <a:solidFill>
                  <a:schemeClr val="tx1"/>
                </a:solidFill>
              </a:rPr>
              <a:t> </a:t>
            </a:r>
            <a:r>
              <a:rPr lang="it-IT" sz="1200" dirty="0" smtClean="0">
                <a:solidFill>
                  <a:schemeClr val="tx1"/>
                </a:solidFill>
              </a:rPr>
              <a:t>tra auto elettriche e auto a benzina</a:t>
            </a:r>
          </a:p>
        </p:txBody>
      </p:sp>
      <p:sp>
        <p:nvSpPr>
          <p:cNvPr id="101" name="Rectangle 139"/>
          <p:cNvSpPr/>
          <p:nvPr/>
        </p:nvSpPr>
        <p:spPr>
          <a:xfrm>
            <a:off x="8511324" y="3355975"/>
            <a:ext cx="576072" cy="2644960"/>
          </a:xfrm>
          <a:prstGeom prst="rect">
            <a:avLst/>
          </a:prstGeom>
          <a:noFill/>
          <a:ln w="28575">
            <a:solidFill>
              <a:schemeClr val="accent3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235E-0982-3B42-A838-A74550CD4449}" type="slidenum">
              <a:rPr lang="it-IT" smtClean="0">
                <a:solidFill>
                  <a:srgbClr val="C6C6C6">
                    <a:lumMod val="75000"/>
                  </a:srgbClr>
                </a:solidFill>
              </a:rPr>
              <a:pPr/>
              <a:t>6</a:t>
            </a:fld>
            <a:endParaRPr lang="it-IT" dirty="0">
              <a:solidFill>
                <a:srgbClr val="C6C6C6">
                  <a:lumMod val="75000"/>
                </a:srgbClr>
              </a:solidFill>
            </a:endParaRPr>
          </a:p>
        </p:txBody>
      </p:sp>
      <p:sp>
        <p:nvSpPr>
          <p:cNvPr id="3" name="Isosceles Triangle 2"/>
          <p:cNvSpPr/>
          <p:nvPr/>
        </p:nvSpPr>
        <p:spPr>
          <a:xfrm>
            <a:off x="2173885" y="5910263"/>
            <a:ext cx="249629" cy="211347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it-IT" sz="2000" dirty="0" smtClean="0"/>
          </a:p>
        </p:txBody>
      </p:sp>
      <p:grpSp>
        <p:nvGrpSpPr>
          <p:cNvPr id="128" name="Group 127"/>
          <p:cNvGrpSpPr/>
          <p:nvPr/>
        </p:nvGrpSpPr>
        <p:grpSpPr>
          <a:xfrm>
            <a:off x="103470" y="110701"/>
            <a:ext cx="604611" cy="401017"/>
            <a:chOff x="4180114" y="89807"/>
            <a:chExt cx="604611" cy="401017"/>
          </a:xfrm>
        </p:grpSpPr>
        <p:sp>
          <p:nvSpPr>
            <p:cNvPr id="129" name="Rectangle 128"/>
            <p:cNvSpPr/>
            <p:nvPr/>
          </p:nvSpPr>
          <p:spPr>
            <a:xfrm>
              <a:off x="4180114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4498975" y="89807"/>
              <a:ext cx="285750" cy="1796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4180114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4498975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4539796" y="105094"/>
              <a:ext cx="18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5100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53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6" name="think-cell Slide" r:id="rId5" imgW="592" imgH="584" progId="TCLayout.ActiveDocument.1">
                  <p:embed/>
                </p:oleObj>
              </mc:Choice>
              <mc:Fallback>
                <p:oleObj name="think-cell Slide" r:id="rId5" imgW="592" imgH="5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1999" y="670120"/>
            <a:ext cx="8377103" cy="415245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it-IT" b="1" dirty="0" smtClean="0"/>
              <a:t>Le case automobilistiche investiranno sempre più nella produzione di modelli elettrici</a:t>
            </a:r>
            <a:endParaRPr lang="it-IT" b="1" dirty="0"/>
          </a:p>
        </p:txBody>
      </p:sp>
      <p:sp>
        <p:nvSpPr>
          <p:cNvPr id="286" name="Segnaposto numero diapositiva 5"/>
          <p:cNvSpPr txBox="1">
            <a:spLocks/>
          </p:cNvSpPr>
          <p:nvPr/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it-IT"/>
            </a:defPPr>
            <a:lvl1pPr marL="0" algn="r" defTabSz="914400" rtl="0" eaLnBrk="1" latinLnBrk="0" hangingPunct="1">
              <a:lnSpc>
                <a:spcPct val="90000"/>
              </a:lnSpc>
              <a:defRPr sz="1067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>
                <a:solidFill>
                  <a:srgbClr val="C6C6C6">
                    <a:lumMod val="75000"/>
                  </a:srgbClr>
                </a:solidFill>
                <a:latin typeface="Arial"/>
              </a:rPr>
              <a:t>5</a:t>
            </a:r>
            <a:endParaRPr lang="it-IT" dirty="0">
              <a:solidFill>
                <a:srgbClr val="C6C6C6">
                  <a:lumMod val="75000"/>
                </a:srgbClr>
              </a:solidFill>
              <a:latin typeface="Arial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872422" y="1627590"/>
            <a:ext cx="7935630" cy="4881976"/>
            <a:chOff x="701295" y="254577"/>
            <a:chExt cx="10562326" cy="6497910"/>
          </a:xfrm>
        </p:grpSpPr>
        <p:pic>
          <p:nvPicPr>
            <p:cNvPr id="869" name="Picture 262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059" b="4117"/>
            <a:stretch/>
          </p:blipFill>
          <p:spPr>
            <a:xfrm>
              <a:off x="2047009" y="454644"/>
              <a:ext cx="7762351" cy="5956548"/>
            </a:xfrm>
            <a:prstGeom prst="rect">
              <a:avLst/>
            </a:prstGeom>
          </p:spPr>
        </p:pic>
        <p:grpSp>
          <p:nvGrpSpPr>
            <p:cNvPr id="590" name="Group 5"/>
            <p:cNvGrpSpPr/>
            <p:nvPr/>
          </p:nvGrpSpPr>
          <p:grpSpPr>
            <a:xfrm>
              <a:off x="5376206" y="1560918"/>
              <a:ext cx="1147390" cy="430648"/>
              <a:chOff x="5153965" y="2161265"/>
              <a:chExt cx="1033264" cy="470289"/>
            </a:xfrm>
          </p:grpSpPr>
          <p:pic>
            <p:nvPicPr>
              <p:cNvPr id="591" name="Picture 6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5183535" y="2161265"/>
                <a:ext cx="765379" cy="306151"/>
              </a:xfrm>
              <a:prstGeom prst="rect">
                <a:avLst/>
              </a:prstGeom>
            </p:spPr>
          </p:pic>
          <p:sp>
            <p:nvSpPr>
              <p:cNvPr id="592" name="TextBox 7"/>
              <p:cNvSpPr txBox="1"/>
              <p:nvPr/>
            </p:nvSpPr>
            <p:spPr>
              <a:xfrm>
                <a:off x="5153965" y="2462212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Venturi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Fetish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93" name="Group 8"/>
            <p:cNvGrpSpPr/>
            <p:nvPr/>
          </p:nvGrpSpPr>
          <p:grpSpPr>
            <a:xfrm>
              <a:off x="6143792" y="1605276"/>
              <a:ext cx="1140757" cy="391705"/>
              <a:chOff x="6118054" y="2161263"/>
              <a:chExt cx="1027291" cy="427761"/>
            </a:xfrm>
          </p:grpSpPr>
          <p:pic>
            <p:nvPicPr>
              <p:cNvPr id="594" name="Picture 9" descr="http://car-pictures.cars.com/images/?IMG=USC10TSC011A0101.png&amp;WIDTH=624&amp;HEIGHT=300&amp;AUTOTRIM=1"/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6160584" y="2161263"/>
                <a:ext cx="650582" cy="3056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95" name="TextBox 10"/>
              <p:cNvSpPr txBox="1"/>
              <p:nvPr/>
            </p:nvSpPr>
            <p:spPr>
              <a:xfrm>
                <a:off x="6118054" y="241455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Tesla Roadster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96" name="TextBox 11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08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sp>
          <p:nvSpPr>
            <p:cNvPr id="597" name="TextBox 12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09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598" name="Group 13"/>
            <p:cNvGrpSpPr/>
            <p:nvPr/>
          </p:nvGrpSpPr>
          <p:grpSpPr>
            <a:xfrm>
              <a:off x="2650611" y="4476141"/>
              <a:ext cx="1147390" cy="406431"/>
              <a:chOff x="1901615" y="5037004"/>
              <a:chExt cx="1033264" cy="443843"/>
            </a:xfrm>
          </p:grpSpPr>
          <p:pic>
            <p:nvPicPr>
              <p:cNvPr id="599" name="Picture 14" descr="http://s1.cdn.autoevolution.com/images/gallery/MITSUBISHIi-MiEV-4731_8.jpg"/>
              <p:cNvPicPr>
                <a:picLocks noChangeAspect="1" noChangeArrowheads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1716" t="10402" r="11297" b="16121"/>
              <a:stretch/>
            </p:blipFill>
            <p:spPr bwMode="auto">
              <a:xfrm flipH="1">
                <a:off x="2399082" y="5037004"/>
                <a:ext cx="516562" cy="2880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00" name="TextBox 15"/>
              <p:cNvSpPr txBox="1"/>
              <p:nvPr/>
            </p:nvSpPr>
            <p:spPr>
              <a:xfrm>
                <a:off x="1901615" y="5311505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Mitsubishi i-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MiEV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01" name="Group 16"/>
            <p:cNvGrpSpPr/>
            <p:nvPr/>
          </p:nvGrpSpPr>
          <p:grpSpPr>
            <a:xfrm>
              <a:off x="3860010" y="4352406"/>
              <a:ext cx="1727603" cy="324235"/>
              <a:chOff x="3422027" y="4968660"/>
              <a:chExt cx="1555767" cy="354079"/>
            </a:xfrm>
          </p:grpSpPr>
          <p:pic>
            <p:nvPicPr>
              <p:cNvPr id="602" name="Picture 17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3422027" y="4968660"/>
                <a:ext cx="579270" cy="354079"/>
              </a:xfrm>
              <a:prstGeom prst="rect">
                <a:avLst/>
              </a:prstGeom>
            </p:spPr>
          </p:pic>
          <p:sp>
            <p:nvSpPr>
              <p:cNvPr id="603" name="TextBox 18"/>
              <p:cNvSpPr txBox="1"/>
              <p:nvPr/>
            </p:nvSpPr>
            <p:spPr>
              <a:xfrm>
                <a:off x="3944530" y="5014438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BMW mini 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04" name="Group 19"/>
            <p:cNvGrpSpPr/>
            <p:nvPr/>
          </p:nvGrpSpPr>
          <p:grpSpPr>
            <a:xfrm>
              <a:off x="3908913" y="5376252"/>
              <a:ext cx="1147390" cy="445583"/>
              <a:chOff x="3330386" y="5940088"/>
              <a:chExt cx="1033264" cy="486599"/>
            </a:xfrm>
          </p:grpSpPr>
          <p:pic>
            <p:nvPicPr>
              <p:cNvPr id="605" name="Picture 20"/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49145" y="5940088"/>
                <a:ext cx="574454" cy="330825"/>
              </a:xfrm>
              <a:prstGeom prst="rect">
                <a:avLst/>
              </a:prstGeom>
            </p:spPr>
          </p:pic>
          <p:sp>
            <p:nvSpPr>
              <p:cNvPr id="606" name="TextBox 21"/>
              <p:cNvSpPr txBox="1"/>
              <p:nvPr/>
            </p:nvSpPr>
            <p:spPr>
              <a:xfrm>
                <a:off x="3330386" y="6257345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Smith Edison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07" name="TextBox 22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0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608" name="Group 23"/>
            <p:cNvGrpSpPr/>
            <p:nvPr/>
          </p:nvGrpSpPr>
          <p:grpSpPr>
            <a:xfrm>
              <a:off x="2437391" y="5263211"/>
              <a:ext cx="1602211" cy="381692"/>
              <a:chOff x="1459822" y="5868079"/>
              <a:chExt cx="1442847" cy="416827"/>
            </a:xfrm>
          </p:grpSpPr>
          <p:pic>
            <p:nvPicPr>
              <p:cNvPr id="609" name="Picture 24"/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14213" y="5868079"/>
                <a:ext cx="688456" cy="416827"/>
              </a:xfrm>
              <a:prstGeom prst="rect">
                <a:avLst/>
              </a:prstGeom>
            </p:spPr>
          </p:pic>
          <p:sp>
            <p:nvSpPr>
              <p:cNvPr id="610" name="TextBox 25"/>
              <p:cNvSpPr txBox="1"/>
              <p:nvPr/>
            </p:nvSpPr>
            <p:spPr>
              <a:xfrm>
                <a:off x="1459822" y="5983371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Ford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Transit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11" name="Group 26"/>
            <p:cNvGrpSpPr/>
            <p:nvPr/>
          </p:nvGrpSpPr>
          <p:grpSpPr>
            <a:xfrm>
              <a:off x="3983713" y="3232869"/>
              <a:ext cx="1295881" cy="566799"/>
              <a:chOff x="3403573" y="3820684"/>
              <a:chExt cx="1166986" cy="618973"/>
            </a:xfrm>
          </p:grpSpPr>
          <p:pic>
            <p:nvPicPr>
              <p:cNvPr id="612" name="Picture 27"/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3403573" y="3820684"/>
                <a:ext cx="801093" cy="534062"/>
              </a:xfrm>
              <a:prstGeom prst="rect">
                <a:avLst/>
              </a:prstGeom>
            </p:spPr>
          </p:pic>
          <p:sp>
            <p:nvSpPr>
              <p:cNvPr id="613" name="TextBox 28"/>
              <p:cNvSpPr txBox="1"/>
              <p:nvPr/>
            </p:nvSpPr>
            <p:spPr>
              <a:xfrm>
                <a:off x="3537295" y="4270315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M-B E-Cell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14" name="Group 29"/>
            <p:cNvGrpSpPr/>
            <p:nvPr/>
          </p:nvGrpSpPr>
          <p:grpSpPr>
            <a:xfrm>
              <a:off x="3651702" y="3345785"/>
              <a:ext cx="1164814" cy="363944"/>
              <a:chOff x="2986108" y="4006211"/>
              <a:chExt cx="1048955" cy="397445"/>
            </a:xfrm>
          </p:grpSpPr>
          <p:pic>
            <p:nvPicPr>
              <p:cNvPr id="615" name="Picture 2" descr="Image result for Hyundai BlueOn"/>
              <p:cNvPicPr>
                <a:picLocks noChangeAspect="1" noChangeArrowheads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2986108" y="4006211"/>
                <a:ext cx="507434" cy="2744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16" name="TextBox 31"/>
              <p:cNvSpPr txBox="1"/>
              <p:nvPr/>
            </p:nvSpPr>
            <p:spPr>
              <a:xfrm>
                <a:off x="3001799" y="4234314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Hyundai</a:t>
                </a:r>
              </a:p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BlueOn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17" name="Group 32"/>
            <p:cNvGrpSpPr/>
            <p:nvPr/>
          </p:nvGrpSpPr>
          <p:grpSpPr>
            <a:xfrm>
              <a:off x="3641521" y="3919391"/>
              <a:ext cx="1179024" cy="442348"/>
              <a:chOff x="2949500" y="4477069"/>
              <a:chExt cx="1061752" cy="483066"/>
            </a:xfrm>
          </p:grpSpPr>
          <p:pic>
            <p:nvPicPr>
              <p:cNvPr id="618" name="Picture 33"/>
              <p:cNvPicPr>
                <a:picLocks noChangeAspect="1"/>
              </p:cNvPicPr>
              <p:nvPr/>
            </p:nvPicPr>
            <p:blipFill rotWithShape="1"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2949500" y="4477069"/>
                <a:ext cx="593704" cy="343330"/>
              </a:xfrm>
              <a:prstGeom prst="rect">
                <a:avLst/>
              </a:prstGeom>
            </p:spPr>
          </p:pic>
          <p:sp>
            <p:nvSpPr>
              <p:cNvPr id="619" name="TextBox 34"/>
              <p:cNvSpPr txBox="1"/>
              <p:nvPr/>
            </p:nvSpPr>
            <p:spPr>
              <a:xfrm>
                <a:off x="2977988" y="4790793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Nissan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Leaf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20" name="Group 35"/>
            <p:cNvGrpSpPr/>
            <p:nvPr/>
          </p:nvGrpSpPr>
          <p:grpSpPr>
            <a:xfrm>
              <a:off x="2793550" y="3222237"/>
              <a:ext cx="1235299" cy="492862"/>
              <a:chOff x="1921356" y="3843883"/>
              <a:chExt cx="1112430" cy="538230"/>
            </a:xfrm>
          </p:grpSpPr>
          <p:pic>
            <p:nvPicPr>
              <p:cNvPr id="621" name="Picture 36"/>
              <p:cNvPicPr>
                <a:picLocks noChangeAspect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80940" y="3843883"/>
                <a:ext cx="752846" cy="538230"/>
              </a:xfrm>
              <a:prstGeom prst="rect">
                <a:avLst/>
              </a:prstGeom>
            </p:spPr>
          </p:pic>
          <p:sp>
            <p:nvSpPr>
              <p:cNvPr id="622" name="TextBox 37"/>
              <p:cNvSpPr txBox="1"/>
              <p:nvPr/>
            </p:nvSpPr>
            <p:spPr>
              <a:xfrm>
                <a:off x="1921356" y="4076886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Kia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Ray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23" name="TextBox 38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1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624" name="Group 39"/>
            <p:cNvGrpSpPr/>
            <p:nvPr/>
          </p:nvGrpSpPr>
          <p:grpSpPr>
            <a:xfrm>
              <a:off x="3061611" y="3956687"/>
              <a:ext cx="1147390" cy="433755"/>
              <a:chOff x="2232991" y="4324319"/>
              <a:chExt cx="1033264" cy="473682"/>
            </a:xfrm>
          </p:grpSpPr>
          <p:pic>
            <p:nvPicPr>
              <p:cNvPr id="625" name="Picture 40"/>
              <p:cNvPicPr>
                <a:picLocks noChangeAspect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2343537" y="4324319"/>
                <a:ext cx="613651" cy="409613"/>
              </a:xfrm>
              <a:prstGeom prst="rect">
                <a:avLst/>
              </a:prstGeom>
            </p:spPr>
          </p:pic>
          <p:sp>
            <p:nvSpPr>
              <p:cNvPr id="626" name="TextBox 41"/>
              <p:cNvSpPr txBox="1"/>
              <p:nvPr/>
            </p:nvSpPr>
            <p:spPr>
              <a:xfrm>
                <a:off x="2232991" y="4628659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Ford Focus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27" name="Group 42"/>
            <p:cNvGrpSpPr/>
            <p:nvPr/>
          </p:nvGrpSpPr>
          <p:grpSpPr>
            <a:xfrm>
              <a:off x="4229978" y="5878927"/>
              <a:ext cx="1948929" cy="412985"/>
              <a:chOff x="3856207" y="6472602"/>
              <a:chExt cx="1755080" cy="450999"/>
            </a:xfrm>
          </p:grpSpPr>
          <p:sp>
            <p:nvSpPr>
              <p:cNvPr id="628" name="TextBox 43"/>
              <p:cNvSpPr txBox="1"/>
              <p:nvPr/>
            </p:nvSpPr>
            <p:spPr>
              <a:xfrm>
                <a:off x="4578023" y="6722336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Renault Kangoo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629" name="Picture 4" descr="kangoo ze"/>
              <p:cNvPicPr>
                <a:picLocks noChangeAspect="1" noChangeArrowheads="1"/>
              </p:cNvPicPr>
              <p:nvPr/>
            </p:nvPicPr>
            <p:blipFill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56207" y="6472602"/>
                <a:ext cx="802966" cy="4509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30" name="Group 45"/>
            <p:cNvGrpSpPr/>
            <p:nvPr/>
          </p:nvGrpSpPr>
          <p:grpSpPr>
            <a:xfrm>
              <a:off x="3896714" y="5776041"/>
              <a:ext cx="1151311" cy="482706"/>
              <a:chOff x="3294214" y="6371592"/>
              <a:chExt cx="1036794" cy="527139"/>
            </a:xfrm>
          </p:grpSpPr>
          <p:pic>
            <p:nvPicPr>
              <p:cNvPr id="631" name="Picture 46"/>
              <p:cNvPicPr>
                <a:picLocks noChangeAspect="1"/>
              </p:cNvPicPr>
              <p:nvPr/>
            </p:nvPicPr>
            <p:blipFill>
              <a:blip r:embed="rId2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3294214" y="6371592"/>
                <a:ext cx="561823" cy="377430"/>
              </a:xfrm>
              <a:prstGeom prst="rect">
                <a:avLst/>
              </a:prstGeom>
            </p:spPr>
          </p:pic>
          <p:sp>
            <p:nvSpPr>
              <p:cNvPr id="632" name="TextBox 47"/>
              <p:cNvSpPr txBox="1"/>
              <p:nvPr/>
            </p:nvSpPr>
            <p:spPr>
              <a:xfrm>
                <a:off x="3297744" y="6729389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M-B Vito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33" name="Group 48"/>
            <p:cNvGrpSpPr/>
            <p:nvPr/>
          </p:nvGrpSpPr>
          <p:grpSpPr>
            <a:xfrm>
              <a:off x="3982957" y="1090724"/>
              <a:ext cx="1345951" cy="454506"/>
              <a:chOff x="3500777" y="3083170"/>
              <a:chExt cx="1212076" cy="496343"/>
            </a:xfrm>
          </p:grpSpPr>
          <p:pic>
            <p:nvPicPr>
              <p:cNvPr id="634" name="Picture 49"/>
              <p:cNvPicPr>
                <a:picLocks noChangeAspect="1"/>
              </p:cNvPicPr>
              <p:nvPr/>
            </p:nvPicPr>
            <p:blipFill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500777" y="3083170"/>
                <a:ext cx="794360" cy="436899"/>
              </a:xfrm>
              <a:prstGeom prst="rect">
                <a:avLst/>
              </a:prstGeom>
            </p:spPr>
          </p:pic>
          <p:sp>
            <p:nvSpPr>
              <p:cNvPr id="635" name="TextBox 50"/>
              <p:cNvSpPr txBox="1"/>
              <p:nvPr/>
            </p:nvSpPr>
            <p:spPr>
              <a:xfrm>
                <a:off x="3679589" y="3410171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BYD e6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36" name="Group 51"/>
            <p:cNvGrpSpPr/>
            <p:nvPr/>
          </p:nvGrpSpPr>
          <p:grpSpPr>
            <a:xfrm>
              <a:off x="4461666" y="2922408"/>
              <a:ext cx="1147390" cy="486391"/>
              <a:chOff x="3823055" y="3561139"/>
              <a:chExt cx="1033264" cy="531163"/>
            </a:xfrm>
          </p:grpSpPr>
          <p:pic>
            <p:nvPicPr>
              <p:cNvPr id="637" name="Picture 2" descr="Image result for Renault Fluence Z.E. transparent"/>
              <p:cNvPicPr>
                <a:picLocks noChangeAspect="1" noChangeArrowheads="1"/>
              </p:cNvPicPr>
              <p:nvPr/>
            </p:nvPicPr>
            <p:blipFill rotWithShape="1"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928475" y="3561139"/>
                <a:ext cx="590021" cy="3830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38" name="TextBox 53"/>
              <p:cNvSpPr txBox="1"/>
              <p:nvPr/>
            </p:nvSpPr>
            <p:spPr>
              <a:xfrm>
                <a:off x="3823055" y="3922960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Renault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Fluenc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39" name="TextBox 54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2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640" name="Group 55"/>
            <p:cNvGrpSpPr/>
            <p:nvPr/>
          </p:nvGrpSpPr>
          <p:grpSpPr>
            <a:xfrm>
              <a:off x="2790599" y="4885277"/>
              <a:ext cx="1147390" cy="458219"/>
              <a:chOff x="2041809" y="5430615"/>
              <a:chExt cx="1033264" cy="500398"/>
            </a:xfrm>
          </p:grpSpPr>
          <p:pic>
            <p:nvPicPr>
              <p:cNvPr id="641" name="Picture 12" descr="Image result for renault twizy transparent"/>
              <p:cNvPicPr>
                <a:picLocks noChangeAspect="1" noChangeArrowheads="1"/>
              </p:cNvPicPr>
              <p:nvPr/>
            </p:nvPicPr>
            <p:blipFill>
              <a:blip r:embed="rId2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2382903" y="5430615"/>
                <a:ext cx="534917" cy="33470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42" name="TextBox 57"/>
              <p:cNvSpPr txBox="1"/>
              <p:nvPr/>
            </p:nvSpPr>
            <p:spPr>
              <a:xfrm>
                <a:off x="2041809" y="5761671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Renault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Twizy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43" name="Group 58"/>
            <p:cNvGrpSpPr/>
            <p:nvPr/>
          </p:nvGrpSpPr>
          <p:grpSpPr>
            <a:xfrm>
              <a:off x="3476993" y="4740495"/>
              <a:ext cx="1180550" cy="448039"/>
              <a:chOff x="3176906" y="5441732"/>
              <a:chExt cx="1063127" cy="489281"/>
            </a:xfrm>
          </p:grpSpPr>
          <p:pic>
            <p:nvPicPr>
              <p:cNvPr id="644" name="Picture 6" descr="Image result for smart fortwo ev 2012 transparent"/>
              <p:cNvPicPr>
                <a:picLocks noChangeAspect="1" noChangeArrowheads="1"/>
              </p:cNvPicPr>
              <p:nvPr/>
            </p:nvPicPr>
            <p:blipFill>
              <a:blip r:embed="rId2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176906" y="5441732"/>
                <a:ext cx="562801" cy="3714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45" name="TextBox 60"/>
              <p:cNvSpPr txBox="1"/>
              <p:nvPr/>
            </p:nvSpPr>
            <p:spPr>
              <a:xfrm>
                <a:off x="3206769" y="5761671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Smart </a:t>
                </a:r>
              </a:p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ForTwo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46" name="Group 61"/>
            <p:cNvGrpSpPr/>
            <p:nvPr/>
          </p:nvGrpSpPr>
          <p:grpSpPr>
            <a:xfrm>
              <a:off x="3443785" y="4343491"/>
              <a:ext cx="1185310" cy="419631"/>
              <a:chOff x="5517378" y="4748080"/>
              <a:chExt cx="1067412" cy="458258"/>
            </a:xfrm>
          </p:grpSpPr>
          <p:pic>
            <p:nvPicPr>
              <p:cNvPr id="647" name="Picture 28" descr="Image result for Fiat 500e transparent"/>
              <p:cNvPicPr>
                <a:picLocks noChangeAspect="1" noChangeArrowheads="1"/>
              </p:cNvPicPr>
              <p:nvPr/>
            </p:nvPicPr>
            <p:blipFill>
              <a:blip r:embed="rId2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5517378" y="4748080"/>
                <a:ext cx="506059" cy="3795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48" name="TextBox 63"/>
              <p:cNvSpPr txBox="1"/>
              <p:nvPr/>
            </p:nvSpPr>
            <p:spPr>
              <a:xfrm>
                <a:off x="5551526" y="5036996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Fiat 500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49" name="Group 64"/>
            <p:cNvGrpSpPr/>
            <p:nvPr/>
          </p:nvGrpSpPr>
          <p:grpSpPr>
            <a:xfrm>
              <a:off x="4614764" y="4018578"/>
              <a:ext cx="1737814" cy="324585"/>
              <a:chOff x="3842487" y="5426767"/>
              <a:chExt cx="1564961" cy="354463"/>
            </a:xfrm>
          </p:grpSpPr>
          <p:pic>
            <p:nvPicPr>
              <p:cNvPr id="650" name="Picture 10" descr="Image result for Renault Zoe ZE transparent"/>
              <p:cNvPicPr>
                <a:picLocks noChangeAspect="1" noChangeArrowheads="1"/>
              </p:cNvPicPr>
              <p:nvPr/>
            </p:nvPicPr>
            <p:blipFill>
              <a:blip r:embed="rId2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842487" y="5426767"/>
                <a:ext cx="531694" cy="3544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51" name="TextBox 66"/>
              <p:cNvSpPr txBox="1"/>
              <p:nvPr/>
            </p:nvSpPr>
            <p:spPr>
              <a:xfrm>
                <a:off x="4374184" y="5582105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Renault Zoe Z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52" name="Group 67"/>
            <p:cNvGrpSpPr/>
            <p:nvPr/>
          </p:nvGrpSpPr>
          <p:grpSpPr>
            <a:xfrm>
              <a:off x="6984415" y="1647783"/>
              <a:ext cx="1140757" cy="366055"/>
              <a:chOff x="7279443" y="2634252"/>
              <a:chExt cx="1027291" cy="399750"/>
            </a:xfrm>
          </p:grpSpPr>
          <p:pic>
            <p:nvPicPr>
              <p:cNvPr id="653" name="Picture 4" descr="Image result for tesla model s 2012 transparent"/>
              <p:cNvPicPr>
                <a:picLocks noChangeAspect="1" noChangeArrowheads="1"/>
              </p:cNvPicPr>
              <p:nvPr/>
            </p:nvPicPr>
            <p:blipFill>
              <a:blip r:embed="rId2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322798" y="2634252"/>
                <a:ext cx="591538" cy="23788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54" name="TextBox 69"/>
              <p:cNvSpPr txBox="1"/>
              <p:nvPr/>
            </p:nvSpPr>
            <p:spPr>
              <a:xfrm>
                <a:off x="7279443" y="2859533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Tesla Model S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55" name="Group 70"/>
            <p:cNvGrpSpPr/>
            <p:nvPr/>
          </p:nvGrpSpPr>
          <p:grpSpPr>
            <a:xfrm>
              <a:off x="3925942" y="605281"/>
              <a:ext cx="1140757" cy="462391"/>
              <a:chOff x="3082971" y="1212702"/>
              <a:chExt cx="1027291" cy="504954"/>
            </a:xfrm>
          </p:grpSpPr>
          <p:pic>
            <p:nvPicPr>
              <p:cNvPr id="656" name="Picture 8" descr="Image result for toyota rav4 ev transparent"/>
              <p:cNvPicPr>
                <a:picLocks noChangeAspect="1" noChangeArrowheads="1"/>
              </p:cNvPicPr>
              <p:nvPr/>
            </p:nvPicPr>
            <p:blipFill rotWithShape="1">
              <a:blip r:embed="rId2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flipH="1">
                <a:off x="3248909" y="1212702"/>
                <a:ext cx="718823" cy="3184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57" name="TextBox 72"/>
              <p:cNvSpPr txBox="1"/>
              <p:nvPr/>
            </p:nvSpPr>
            <p:spPr>
              <a:xfrm>
                <a:off x="3082971" y="1543188"/>
                <a:ext cx="1027291" cy="17446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/>
                <a:r>
                  <a:rPr lang="it-IT" sz="700" dirty="0" smtClean="0">
                    <a:solidFill>
                      <a:prstClr val="black"/>
                    </a:solidFill>
                  </a:rPr>
                  <a:t>Toyota RAV4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58" name="Group 73"/>
            <p:cNvGrpSpPr/>
            <p:nvPr/>
          </p:nvGrpSpPr>
          <p:grpSpPr>
            <a:xfrm>
              <a:off x="4121540" y="3767227"/>
              <a:ext cx="1140757" cy="455717"/>
              <a:chOff x="3774564" y="4428080"/>
              <a:chExt cx="1027291" cy="497665"/>
            </a:xfrm>
          </p:grpSpPr>
          <p:pic>
            <p:nvPicPr>
              <p:cNvPr id="659" name="Picture 14" descr="Image result for Honda Fit EV transparent"/>
              <p:cNvPicPr>
                <a:picLocks noChangeAspect="1" noChangeArrowheads="1"/>
              </p:cNvPicPr>
              <p:nvPr/>
            </p:nvPicPr>
            <p:blipFill>
              <a:blip r:embed="rId2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780646" y="4428080"/>
                <a:ext cx="632293" cy="4173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60" name="TextBox 75"/>
              <p:cNvSpPr txBox="1"/>
              <p:nvPr/>
            </p:nvSpPr>
            <p:spPr>
              <a:xfrm>
                <a:off x="3774564" y="4751276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Honda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Fit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61" name="Group 76"/>
            <p:cNvGrpSpPr/>
            <p:nvPr/>
          </p:nvGrpSpPr>
          <p:grpSpPr>
            <a:xfrm>
              <a:off x="3107577" y="2847289"/>
              <a:ext cx="1227078" cy="311051"/>
              <a:chOff x="2344141" y="3108149"/>
              <a:chExt cx="1105025" cy="339683"/>
            </a:xfrm>
          </p:grpSpPr>
          <p:sp>
            <p:nvSpPr>
              <p:cNvPr id="662" name="TextBox 77"/>
              <p:cNvSpPr txBox="1"/>
              <p:nvPr/>
            </p:nvSpPr>
            <p:spPr>
              <a:xfrm>
                <a:off x="2344141" y="3180626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CODA EV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663" name="Picture 20" descr="Image result for coda ev sedan transparent"/>
              <p:cNvPicPr>
                <a:picLocks noChangeAspect="1" noChangeArrowheads="1"/>
              </p:cNvPicPr>
              <p:nvPr/>
            </p:nvPicPr>
            <p:blipFill>
              <a:blip r:embed="rId3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2937081" y="3108149"/>
                <a:ext cx="512085" cy="3396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64" name="TextBox 79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3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665" name="Group 80"/>
            <p:cNvGrpSpPr/>
            <p:nvPr/>
          </p:nvGrpSpPr>
          <p:grpSpPr>
            <a:xfrm>
              <a:off x="2587496" y="5902894"/>
              <a:ext cx="1849824" cy="422854"/>
              <a:chOff x="1637910" y="6392685"/>
              <a:chExt cx="1665831" cy="461778"/>
            </a:xfrm>
          </p:grpSpPr>
          <p:pic>
            <p:nvPicPr>
              <p:cNvPr id="666" name="Picture 6" descr="Image result for Citroen Berlingo Electric transparent"/>
              <p:cNvPicPr>
                <a:picLocks noChangeAspect="1" noChangeArrowheads="1"/>
              </p:cNvPicPr>
              <p:nvPr/>
            </p:nvPicPr>
            <p:blipFill>
              <a:blip r:embed="rId3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82490" y="6392685"/>
                <a:ext cx="821251" cy="4617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67" name="TextBox 82"/>
              <p:cNvSpPr txBox="1"/>
              <p:nvPr/>
            </p:nvSpPr>
            <p:spPr>
              <a:xfrm>
                <a:off x="1637910" y="6453898"/>
                <a:ext cx="1381391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Peugeot Partner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68" name="Group 83"/>
            <p:cNvGrpSpPr/>
            <p:nvPr/>
          </p:nvGrpSpPr>
          <p:grpSpPr>
            <a:xfrm>
              <a:off x="6269367" y="2075554"/>
              <a:ext cx="1140757" cy="403213"/>
              <a:chOff x="6276681" y="2678423"/>
              <a:chExt cx="1027291" cy="440329"/>
            </a:xfrm>
          </p:grpSpPr>
          <p:pic>
            <p:nvPicPr>
              <p:cNvPr id="669" name="Picture 84"/>
              <p:cNvPicPr>
                <a:picLocks noChangeAspect="1"/>
              </p:cNvPicPr>
              <p:nvPr/>
            </p:nvPicPr>
            <p:blipFill>
              <a:blip r:embed="rId3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6276681" y="2678423"/>
                <a:ext cx="524621" cy="320276"/>
              </a:xfrm>
              <a:prstGeom prst="rect">
                <a:avLst/>
              </a:prstGeom>
            </p:spPr>
          </p:pic>
          <p:sp>
            <p:nvSpPr>
              <p:cNvPr id="670" name="TextBox 85"/>
              <p:cNvSpPr txBox="1"/>
              <p:nvPr/>
            </p:nvSpPr>
            <p:spPr>
              <a:xfrm>
                <a:off x="6276681" y="2944284"/>
                <a:ext cx="1027291" cy="17446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Exagon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Furtiv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71" name="Group 86"/>
            <p:cNvGrpSpPr/>
            <p:nvPr/>
          </p:nvGrpSpPr>
          <p:grpSpPr>
            <a:xfrm>
              <a:off x="4310519" y="1976368"/>
              <a:ext cx="1707096" cy="357937"/>
              <a:chOff x="3869784" y="2558298"/>
              <a:chExt cx="1537300" cy="390885"/>
            </a:xfrm>
          </p:grpSpPr>
          <p:pic>
            <p:nvPicPr>
              <p:cNvPr id="672" name="Picture 26" descr="Image result for mercedes sls e-drive transparent"/>
              <p:cNvPicPr>
                <a:picLocks noChangeAspect="1" noChangeArrowheads="1"/>
              </p:cNvPicPr>
              <p:nvPr/>
            </p:nvPicPr>
            <p:blipFill>
              <a:blip r:embed="rId3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4795661" y="2558298"/>
                <a:ext cx="611423" cy="3908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73" name="TextBox 88"/>
              <p:cNvSpPr txBox="1"/>
              <p:nvPr/>
            </p:nvSpPr>
            <p:spPr>
              <a:xfrm>
                <a:off x="3869784" y="2649549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M-B SLS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eDriv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74" name="Group 89"/>
            <p:cNvGrpSpPr/>
            <p:nvPr/>
          </p:nvGrpSpPr>
          <p:grpSpPr>
            <a:xfrm>
              <a:off x="4545785" y="3434200"/>
              <a:ext cx="1790541" cy="264207"/>
              <a:chOff x="4159748" y="4091337"/>
              <a:chExt cx="1612444" cy="288527"/>
            </a:xfrm>
          </p:grpSpPr>
          <p:pic>
            <p:nvPicPr>
              <p:cNvPr id="675" name="Picture 4" descr="Image result for bmw i3 2013 transparent"/>
              <p:cNvPicPr>
                <a:picLocks noChangeAspect="1" noChangeArrowheads="1"/>
              </p:cNvPicPr>
              <p:nvPr/>
            </p:nvPicPr>
            <p:blipFill>
              <a:blip r:embed="rId3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4159748" y="4091337"/>
                <a:ext cx="674276" cy="2885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76" name="TextBox 91"/>
              <p:cNvSpPr txBox="1"/>
              <p:nvPr/>
            </p:nvSpPr>
            <p:spPr>
              <a:xfrm>
                <a:off x="4744901" y="417137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BMW i3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77" name="Group 92"/>
            <p:cNvGrpSpPr/>
            <p:nvPr/>
          </p:nvGrpSpPr>
          <p:grpSpPr>
            <a:xfrm>
              <a:off x="3037531" y="3552005"/>
              <a:ext cx="1140757" cy="489693"/>
              <a:chOff x="7068447" y="3888919"/>
              <a:chExt cx="1027291" cy="534769"/>
            </a:xfrm>
          </p:grpSpPr>
          <p:pic>
            <p:nvPicPr>
              <p:cNvPr id="678" name="Picture 2" descr="Image result for chevrolet spark transparent"/>
              <p:cNvPicPr>
                <a:picLocks noChangeAspect="1" noChangeArrowheads="1"/>
              </p:cNvPicPr>
              <p:nvPr/>
            </p:nvPicPr>
            <p:blipFill>
              <a:blip r:embed="rId3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7211284" y="3888919"/>
                <a:ext cx="663536" cy="49765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79" name="TextBox 94"/>
              <p:cNvSpPr txBox="1"/>
              <p:nvPr/>
            </p:nvSpPr>
            <p:spPr>
              <a:xfrm>
                <a:off x="7068447" y="4249219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Chevy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Spark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80" name="Group 95"/>
            <p:cNvGrpSpPr/>
            <p:nvPr/>
          </p:nvGrpSpPr>
          <p:grpSpPr>
            <a:xfrm>
              <a:off x="3881225" y="4966978"/>
              <a:ext cx="1627569" cy="343669"/>
              <a:chOff x="3229758" y="5259839"/>
              <a:chExt cx="1465682" cy="375303"/>
            </a:xfrm>
          </p:grpSpPr>
          <p:pic>
            <p:nvPicPr>
              <p:cNvPr id="681" name="Picture 2" descr="Image result for Mahindra e2o transparent"/>
              <p:cNvPicPr>
                <a:picLocks noChangeAspect="1" noChangeArrowheads="1"/>
              </p:cNvPicPr>
              <p:nvPr/>
            </p:nvPicPr>
            <p:blipFill>
              <a:blip r:embed="rId3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29758" y="5267733"/>
                <a:ext cx="560371" cy="3674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82" name="TextBox 97"/>
              <p:cNvSpPr txBox="1"/>
              <p:nvPr/>
            </p:nvSpPr>
            <p:spPr>
              <a:xfrm>
                <a:off x="3668149" y="5259839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Mahindra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e2o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83" name="Group 98"/>
            <p:cNvGrpSpPr/>
            <p:nvPr/>
          </p:nvGrpSpPr>
          <p:grpSpPr>
            <a:xfrm>
              <a:off x="3908447" y="4663848"/>
              <a:ext cx="1725027" cy="332103"/>
              <a:chOff x="3248814" y="5259672"/>
              <a:chExt cx="1553446" cy="362675"/>
            </a:xfrm>
          </p:grpSpPr>
          <p:pic>
            <p:nvPicPr>
              <p:cNvPr id="684" name="Picture 22" descr="Image result for vw e-up transparent"/>
              <p:cNvPicPr>
                <a:picLocks noChangeAspect="1" noChangeArrowheads="1"/>
              </p:cNvPicPr>
              <p:nvPr/>
            </p:nvPicPr>
            <p:blipFill>
              <a:blip r:embed="rId3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248814" y="5259672"/>
                <a:ext cx="543473" cy="3626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85" name="TextBox 100"/>
              <p:cNvSpPr txBox="1"/>
              <p:nvPr/>
            </p:nvSpPr>
            <p:spPr>
              <a:xfrm>
                <a:off x="3774969" y="5269209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VW</a:t>
                </a:r>
              </a:p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e-Up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86" name="TextBox 101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4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687" name="Group 102"/>
            <p:cNvGrpSpPr/>
            <p:nvPr/>
          </p:nvGrpSpPr>
          <p:grpSpPr>
            <a:xfrm>
              <a:off x="4629348" y="3733728"/>
              <a:ext cx="1823472" cy="294723"/>
              <a:chOff x="4215145" y="4346589"/>
              <a:chExt cx="1642100" cy="321852"/>
            </a:xfrm>
          </p:grpSpPr>
          <p:pic>
            <p:nvPicPr>
              <p:cNvPr id="688" name="Picture 2" descr="Image result for vw e golf transparent"/>
              <p:cNvPicPr>
                <a:picLocks noChangeAspect="1" noChangeArrowheads="1"/>
              </p:cNvPicPr>
              <p:nvPr/>
            </p:nvPicPr>
            <p:blipFill rotWithShape="1">
              <a:blip r:embed="rId3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flipH="1">
                <a:off x="4215145" y="4346589"/>
                <a:ext cx="618947" cy="3218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89" name="TextBox 104"/>
              <p:cNvSpPr txBox="1"/>
              <p:nvPr/>
            </p:nvSpPr>
            <p:spPr>
              <a:xfrm>
                <a:off x="4823981" y="4350881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VW e-Golf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90" name="Group 105"/>
            <p:cNvGrpSpPr/>
            <p:nvPr/>
          </p:nvGrpSpPr>
          <p:grpSpPr>
            <a:xfrm>
              <a:off x="2573560" y="5646295"/>
              <a:ext cx="1506845" cy="288523"/>
              <a:chOff x="5182025" y="6191714"/>
              <a:chExt cx="1356967" cy="315081"/>
            </a:xfrm>
          </p:grpSpPr>
          <p:pic>
            <p:nvPicPr>
              <p:cNvPr id="691" name="Picture 4" descr="Image result for nissan e nv200 transparent"/>
              <p:cNvPicPr>
                <a:picLocks noChangeAspect="1" noChangeArrowheads="1"/>
              </p:cNvPicPr>
              <p:nvPr/>
            </p:nvPicPr>
            <p:blipFill rotWithShape="1">
              <a:blip r:embed="rId3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flipH="1">
                <a:off x="6016629" y="6191714"/>
                <a:ext cx="522363" cy="3150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2" name="TextBox 107"/>
              <p:cNvSpPr txBox="1"/>
              <p:nvPr/>
            </p:nvSpPr>
            <p:spPr>
              <a:xfrm>
                <a:off x="5182025" y="6218814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Nissan NV200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93" name="Group 108"/>
            <p:cNvGrpSpPr/>
            <p:nvPr/>
          </p:nvGrpSpPr>
          <p:grpSpPr>
            <a:xfrm>
              <a:off x="3458428" y="1107073"/>
              <a:ext cx="1140757" cy="440183"/>
              <a:chOff x="2743288" y="1706536"/>
              <a:chExt cx="1027291" cy="480701"/>
            </a:xfrm>
          </p:grpSpPr>
          <p:pic>
            <p:nvPicPr>
              <p:cNvPr id="694" name="Picture 6" descr="Image result for Mercedes B-Class 2014 transparent"/>
              <p:cNvPicPr>
                <a:picLocks noChangeAspect="1" noChangeArrowheads="1"/>
              </p:cNvPicPr>
              <p:nvPr/>
            </p:nvPicPr>
            <p:blipFill>
              <a:blip r:embed="rId4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49780" y="1706536"/>
                <a:ext cx="654836" cy="3352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95" name="TextBox 110"/>
              <p:cNvSpPr txBox="1"/>
              <p:nvPr/>
            </p:nvSpPr>
            <p:spPr>
              <a:xfrm>
                <a:off x="2743288" y="2012768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M-B B-Class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96" name="Group 111"/>
            <p:cNvGrpSpPr/>
            <p:nvPr/>
          </p:nvGrpSpPr>
          <p:grpSpPr>
            <a:xfrm>
              <a:off x="3983243" y="3011053"/>
              <a:ext cx="1149928" cy="379311"/>
              <a:chOff x="3375912" y="3534865"/>
              <a:chExt cx="1035551" cy="414224"/>
            </a:xfrm>
          </p:grpSpPr>
          <p:pic>
            <p:nvPicPr>
              <p:cNvPr id="697" name="Picture 112"/>
              <p:cNvPicPr>
                <a:picLocks noChangeAspect="1"/>
              </p:cNvPicPr>
              <p:nvPr/>
            </p:nvPicPr>
            <p:blipFill rotWithShape="1">
              <a:blip r:embed="rId4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375912" y="3534865"/>
                <a:ext cx="656890" cy="247146"/>
              </a:xfrm>
              <a:prstGeom prst="rect">
                <a:avLst/>
              </a:prstGeom>
            </p:spPr>
          </p:pic>
          <p:sp>
            <p:nvSpPr>
              <p:cNvPr id="698" name="TextBox 113"/>
              <p:cNvSpPr txBox="1"/>
              <p:nvPr/>
            </p:nvSpPr>
            <p:spPr>
              <a:xfrm>
                <a:off x="3384172" y="3774621"/>
                <a:ext cx="1027291" cy="17446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JAC iEV4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99" name="TextBox 114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5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700" name="Group 115"/>
            <p:cNvGrpSpPr/>
            <p:nvPr/>
          </p:nvGrpSpPr>
          <p:grpSpPr>
            <a:xfrm>
              <a:off x="2162560" y="4859430"/>
              <a:ext cx="1243455" cy="341562"/>
              <a:chOff x="1114363" y="5467989"/>
              <a:chExt cx="1119774" cy="373005"/>
            </a:xfrm>
          </p:grpSpPr>
          <p:pic>
            <p:nvPicPr>
              <p:cNvPr id="701" name="Picture 6" descr="Image result for Kandi Panda electric vehicle transparent"/>
              <p:cNvPicPr>
                <a:picLocks noChangeAspect="1" noChangeArrowheads="1"/>
              </p:cNvPicPr>
              <p:nvPr/>
            </p:nvPicPr>
            <p:blipFill>
              <a:blip r:embed="rId4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38767" y="5467989"/>
                <a:ext cx="395370" cy="333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02" name="TextBox 117"/>
              <p:cNvSpPr txBox="1"/>
              <p:nvPr/>
            </p:nvSpPr>
            <p:spPr>
              <a:xfrm>
                <a:off x="1114363" y="566652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Kandi Panda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03" name="Group 118"/>
            <p:cNvGrpSpPr/>
            <p:nvPr/>
          </p:nvGrpSpPr>
          <p:grpSpPr>
            <a:xfrm>
              <a:off x="4338123" y="5100521"/>
              <a:ext cx="1734564" cy="301164"/>
              <a:chOff x="3959325" y="5741284"/>
              <a:chExt cx="1562035" cy="328888"/>
            </a:xfrm>
          </p:grpSpPr>
          <p:pic>
            <p:nvPicPr>
              <p:cNvPr id="704" name="Picture 2" descr="Image result for bollore blue summer transparent"/>
              <p:cNvPicPr>
                <a:picLocks noChangeAspect="1" noChangeArrowheads="1"/>
              </p:cNvPicPr>
              <p:nvPr/>
            </p:nvPicPr>
            <p:blipFill rotWithShape="1">
              <a:blip r:embed="rId4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959325" y="5755159"/>
                <a:ext cx="538570" cy="3150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05" name="TextBox 120"/>
              <p:cNvSpPr txBox="1"/>
              <p:nvPr/>
            </p:nvSpPr>
            <p:spPr>
              <a:xfrm>
                <a:off x="4494069" y="5741284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Bollore</a:t>
                </a:r>
              </a:p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Bluesummer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06" name="Group 121"/>
            <p:cNvGrpSpPr/>
            <p:nvPr/>
          </p:nvGrpSpPr>
          <p:grpSpPr>
            <a:xfrm>
              <a:off x="5515725" y="2573973"/>
              <a:ext cx="1140757" cy="420208"/>
              <a:chOff x="5263393" y="3176247"/>
              <a:chExt cx="1027291" cy="458887"/>
            </a:xfrm>
          </p:grpSpPr>
          <p:pic>
            <p:nvPicPr>
              <p:cNvPr id="707" name="Picture 2" descr="Image result for Mullen 700e transparent"/>
              <p:cNvPicPr>
                <a:picLocks noChangeAspect="1" noChangeArrowheads="1"/>
              </p:cNvPicPr>
              <p:nvPr/>
            </p:nvPicPr>
            <p:blipFill>
              <a:blip r:embed="rId4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5290666" y="3176247"/>
                <a:ext cx="535628" cy="3378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08" name="TextBox 123"/>
              <p:cNvSpPr txBox="1"/>
              <p:nvPr/>
            </p:nvSpPr>
            <p:spPr>
              <a:xfrm>
                <a:off x="5263393" y="3460664"/>
                <a:ext cx="1027291" cy="17447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Mullen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700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09" name="Group 124"/>
            <p:cNvGrpSpPr/>
            <p:nvPr/>
          </p:nvGrpSpPr>
          <p:grpSpPr>
            <a:xfrm>
              <a:off x="4075562" y="2645662"/>
              <a:ext cx="1139482" cy="283163"/>
              <a:chOff x="3693010" y="3298600"/>
              <a:chExt cx="1026143" cy="309228"/>
            </a:xfrm>
          </p:grpSpPr>
          <p:pic>
            <p:nvPicPr>
              <p:cNvPr id="710" name="Picture 8" descr="Image result for changan eado transparent"/>
              <p:cNvPicPr>
                <a:picLocks noChangeAspect="1" noChangeArrowheads="1"/>
              </p:cNvPicPr>
              <p:nvPr/>
            </p:nvPicPr>
            <p:blipFill>
              <a:blip r:embed="rId4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2487" y="3304717"/>
                <a:ext cx="586666" cy="3031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1" name="TextBox 126"/>
              <p:cNvSpPr txBox="1"/>
              <p:nvPr/>
            </p:nvSpPr>
            <p:spPr>
              <a:xfrm>
                <a:off x="3693010" y="3298600"/>
                <a:ext cx="420130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err="1" smtClean="0">
                    <a:solidFill>
                      <a:prstClr val="black"/>
                    </a:solidFill>
                  </a:rPr>
                  <a:t>ChangAn</a:t>
                </a:r>
                <a:endParaRPr lang="it-IT" sz="700" dirty="0" smtClean="0">
                  <a:solidFill>
                    <a:prstClr val="black"/>
                  </a:solidFill>
                </a:endParaRPr>
              </a:p>
              <a:p>
                <a:pPr algn="r"/>
                <a:r>
                  <a:rPr lang="it-IT" sz="700" dirty="0" err="1" smtClean="0">
                    <a:solidFill>
                      <a:prstClr val="black"/>
                    </a:solidFill>
                  </a:rPr>
                  <a:t>Eado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12" name="TextBox 127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6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713" name="Group 128"/>
            <p:cNvGrpSpPr/>
            <p:nvPr/>
          </p:nvGrpSpPr>
          <p:grpSpPr>
            <a:xfrm>
              <a:off x="6295063" y="3494851"/>
              <a:ext cx="1158040" cy="401562"/>
              <a:chOff x="6308981" y="4097865"/>
              <a:chExt cx="1042856" cy="438523"/>
            </a:xfrm>
          </p:grpSpPr>
          <p:pic>
            <p:nvPicPr>
              <p:cNvPr id="714" name="Picture 8" descr="Image result for chevrolet bolt 2016 transparent"/>
              <p:cNvPicPr>
                <a:picLocks noChangeAspect="1" noChangeArrowheads="1"/>
              </p:cNvPicPr>
              <p:nvPr/>
            </p:nvPicPr>
            <p:blipFill>
              <a:blip r:embed="rId4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08981" y="4097865"/>
                <a:ext cx="665096" cy="25100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5" name="TextBox 130"/>
              <p:cNvSpPr txBox="1"/>
              <p:nvPr/>
            </p:nvSpPr>
            <p:spPr>
              <a:xfrm>
                <a:off x="6324546" y="4361920"/>
                <a:ext cx="1027291" cy="17446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Chevy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Bolt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16" name="Group 131"/>
            <p:cNvGrpSpPr/>
            <p:nvPr/>
          </p:nvGrpSpPr>
          <p:grpSpPr>
            <a:xfrm>
              <a:off x="7697365" y="2162695"/>
              <a:ext cx="1713625" cy="376119"/>
              <a:chOff x="7939424" y="2699784"/>
              <a:chExt cx="1543180" cy="410740"/>
            </a:xfrm>
          </p:grpSpPr>
          <p:pic>
            <p:nvPicPr>
              <p:cNvPr id="717" name="Picture 10" descr="Image result for Audi R8 E-tron transparent"/>
              <p:cNvPicPr>
                <a:picLocks noChangeAspect="1" noChangeArrowheads="1"/>
              </p:cNvPicPr>
              <p:nvPr/>
            </p:nvPicPr>
            <p:blipFill>
              <a:blip r:embed="rId4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559179" flipH="1">
                <a:off x="7939424" y="2699784"/>
                <a:ext cx="547653" cy="4107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8" name="TextBox 133"/>
              <p:cNvSpPr txBox="1"/>
              <p:nvPr/>
            </p:nvSpPr>
            <p:spPr>
              <a:xfrm>
                <a:off x="8455313" y="2786962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Audi R8 E-tron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19" name="Group 137"/>
            <p:cNvGrpSpPr/>
            <p:nvPr/>
          </p:nvGrpSpPr>
          <p:grpSpPr>
            <a:xfrm>
              <a:off x="4322753" y="5298745"/>
              <a:ext cx="1960753" cy="513135"/>
              <a:chOff x="3927030" y="5963406"/>
              <a:chExt cx="1765726" cy="560368"/>
            </a:xfrm>
          </p:grpSpPr>
          <p:pic>
            <p:nvPicPr>
              <p:cNvPr id="720" name="Picture 16" descr="Image result for BYD T3"/>
              <p:cNvPicPr>
                <a:picLocks noChangeAspect="1" noChangeArrowheads="1"/>
              </p:cNvPicPr>
              <p:nvPr/>
            </p:nvPicPr>
            <p:blipFill>
              <a:blip r:embed="rId4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3927030" y="5963406"/>
                <a:ext cx="838583" cy="5603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21" name="TextBox 139"/>
              <p:cNvSpPr txBox="1"/>
              <p:nvPr/>
            </p:nvSpPr>
            <p:spPr>
              <a:xfrm>
                <a:off x="4665465" y="6194386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BYD T3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22" name="Group 140"/>
            <p:cNvGrpSpPr/>
            <p:nvPr/>
          </p:nvGrpSpPr>
          <p:grpSpPr>
            <a:xfrm>
              <a:off x="2388504" y="2337332"/>
              <a:ext cx="1662153" cy="316863"/>
              <a:chOff x="1332826" y="2920098"/>
              <a:chExt cx="1496827" cy="346030"/>
            </a:xfrm>
          </p:grpSpPr>
          <p:pic>
            <p:nvPicPr>
              <p:cNvPr id="723" name="Picture 14" descr="Image result for Mahindra e Verito transparent"/>
              <p:cNvPicPr>
                <a:picLocks noChangeAspect="1" noChangeArrowheads="1"/>
              </p:cNvPicPr>
              <p:nvPr/>
            </p:nvPicPr>
            <p:blipFill>
              <a:blip r:embed="rId4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67542" y="2920098"/>
                <a:ext cx="462111" cy="3460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24" name="TextBox 142"/>
              <p:cNvSpPr txBox="1"/>
              <p:nvPr/>
            </p:nvSpPr>
            <p:spPr>
              <a:xfrm>
                <a:off x="1332826" y="298158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Mahindra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eVerito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25" name="TextBox 143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7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726" name="Group 144"/>
            <p:cNvGrpSpPr/>
            <p:nvPr/>
          </p:nvGrpSpPr>
          <p:grpSpPr>
            <a:xfrm>
              <a:off x="4712890" y="1520167"/>
              <a:ext cx="1140757" cy="464888"/>
              <a:chOff x="4320167" y="2117365"/>
              <a:chExt cx="1027291" cy="507680"/>
            </a:xfrm>
          </p:grpSpPr>
          <p:pic>
            <p:nvPicPr>
              <p:cNvPr id="727" name="Picture 4" descr="Image result for Qiantu K50"/>
              <p:cNvPicPr>
                <a:picLocks noChangeAspect="1" noChangeArrowheads="1"/>
              </p:cNvPicPr>
              <p:nvPr/>
            </p:nvPicPr>
            <p:blipFill>
              <a:blip r:embed="rId5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00126" y="2117365"/>
                <a:ext cx="660572" cy="4285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28" name="TextBox 146"/>
              <p:cNvSpPr txBox="1"/>
              <p:nvPr/>
            </p:nvSpPr>
            <p:spPr>
              <a:xfrm>
                <a:off x="4320167" y="2450576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Qianto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Q50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29" name="Group 147"/>
            <p:cNvGrpSpPr/>
            <p:nvPr/>
          </p:nvGrpSpPr>
          <p:grpSpPr>
            <a:xfrm>
              <a:off x="5546163" y="1889871"/>
              <a:ext cx="1197653" cy="457641"/>
              <a:chOff x="5367603" y="2487732"/>
              <a:chExt cx="1078528" cy="499766"/>
            </a:xfrm>
          </p:grpSpPr>
          <p:pic>
            <p:nvPicPr>
              <p:cNvPr id="730" name="Picture 148"/>
              <p:cNvPicPr>
                <a:picLocks noChangeAspect="1"/>
              </p:cNvPicPr>
              <p:nvPr/>
            </p:nvPicPr>
            <p:blipFill>
              <a:blip r:embed="rId5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5367603" y="2487732"/>
                <a:ext cx="839146" cy="406323"/>
              </a:xfrm>
              <a:prstGeom prst="rect">
                <a:avLst/>
              </a:prstGeom>
            </p:spPr>
          </p:pic>
          <p:sp>
            <p:nvSpPr>
              <p:cNvPr id="731" name="TextBox 149"/>
              <p:cNvSpPr txBox="1"/>
              <p:nvPr/>
            </p:nvSpPr>
            <p:spPr>
              <a:xfrm>
                <a:off x="5418840" y="2813029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Aston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Martin</a:t>
                </a:r>
              </a:p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Rapid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32" name="Group 150"/>
            <p:cNvGrpSpPr/>
            <p:nvPr/>
          </p:nvGrpSpPr>
          <p:grpSpPr>
            <a:xfrm>
              <a:off x="6230242" y="2432889"/>
              <a:ext cx="1140757" cy="459740"/>
              <a:chOff x="6044027" y="3123813"/>
              <a:chExt cx="1027291" cy="502059"/>
            </a:xfrm>
          </p:grpSpPr>
          <p:pic>
            <p:nvPicPr>
              <p:cNvPr id="733" name="Picture 2" descr="Image result for tesla model 3 transparent"/>
              <p:cNvPicPr>
                <a:picLocks noChangeAspect="1" noChangeArrowheads="1"/>
              </p:cNvPicPr>
              <p:nvPr/>
            </p:nvPicPr>
            <p:blipFill>
              <a:blip r:embed="rId5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6080521" y="3123813"/>
                <a:ext cx="716440" cy="4033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34" name="TextBox 152"/>
              <p:cNvSpPr txBox="1"/>
              <p:nvPr/>
            </p:nvSpPr>
            <p:spPr>
              <a:xfrm>
                <a:off x="6044027" y="3451403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Tesla Model 3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35" name="Group 153"/>
            <p:cNvGrpSpPr/>
            <p:nvPr/>
          </p:nvGrpSpPr>
          <p:grpSpPr>
            <a:xfrm>
              <a:off x="3510066" y="2229655"/>
              <a:ext cx="1140757" cy="362046"/>
              <a:chOff x="2808198" y="2836330"/>
              <a:chExt cx="1027291" cy="395372"/>
            </a:xfrm>
          </p:grpSpPr>
          <p:pic>
            <p:nvPicPr>
              <p:cNvPr id="736" name="Picture 4" descr="https://cdn.drivek.it/configurator-icon/cars/gb/400/HYUNDAI/IONIQ/6986_HATCHBACK-5-DOORS/hyundai-ioniq-side-view.png"/>
              <p:cNvPicPr>
                <a:picLocks noChangeAspect="1" noChangeArrowheads="1"/>
              </p:cNvPicPr>
              <p:nvPr/>
            </p:nvPicPr>
            <p:blipFill>
              <a:blip r:embed="rId5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87488" y="2848903"/>
                <a:ext cx="765596" cy="3827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37" name="TextBox 155"/>
              <p:cNvSpPr txBox="1"/>
              <p:nvPr/>
            </p:nvSpPr>
            <p:spPr>
              <a:xfrm>
                <a:off x="2808198" y="2836330"/>
                <a:ext cx="1027291" cy="17447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Hyundai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Ioniq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38" name="TextBox 156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8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739" name="Group 157"/>
            <p:cNvGrpSpPr/>
            <p:nvPr/>
          </p:nvGrpSpPr>
          <p:grpSpPr>
            <a:xfrm>
              <a:off x="2148141" y="617598"/>
              <a:ext cx="1793379" cy="284310"/>
              <a:chOff x="1096232" y="1231413"/>
              <a:chExt cx="1615000" cy="310480"/>
            </a:xfrm>
          </p:grpSpPr>
          <p:pic>
            <p:nvPicPr>
              <p:cNvPr id="740" name="Picture 2" descr="Image result for Land Rover Electric Defender transparent"/>
              <p:cNvPicPr>
                <a:picLocks noChangeAspect="1" noChangeArrowheads="1"/>
              </p:cNvPicPr>
              <p:nvPr/>
            </p:nvPicPr>
            <p:blipFill>
              <a:blip r:embed="rId5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2147556" y="1254647"/>
                <a:ext cx="563676" cy="2872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41" name="TextBox 159"/>
              <p:cNvSpPr txBox="1"/>
              <p:nvPr/>
            </p:nvSpPr>
            <p:spPr>
              <a:xfrm>
                <a:off x="1096232" y="1231413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Land Rover</a:t>
                </a:r>
              </a:p>
              <a:p>
                <a:pPr algn="r"/>
                <a:r>
                  <a:rPr lang="it-IT" sz="700" dirty="0" err="1" smtClean="0">
                    <a:solidFill>
                      <a:prstClr val="black"/>
                    </a:solidFill>
                  </a:rPr>
                  <a:t>Defender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42" name="Group 160"/>
            <p:cNvGrpSpPr/>
            <p:nvPr/>
          </p:nvGrpSpPr>
          <p:grpSpPr>
            <a:xfrm>
              <a:off x="2643940" y="2987574"/>
              <a:ext cx="1634889" cy="429835"/>
              <a:chOff x="1685694" y="3519447"/>
              <a:chExt cx="1472274" cy="469401"/>
            </a:xfrm>
          </p:grpSpPr>
          <p:pic>
            <p:nvPicPr>
              <p:cNvPr id="743" name="Picture 4" descr="Image result for honda clarity transparent"/>
              <p:cNvPicPr>
                <a:picLocks noChangeAspect="1" noChangeArrowheads="1"/>
              </p:cNvPicPr>
              <p:nvPr/>
            </p:nvPicPr>
            <p:blipFill>
              <a:blip r:embed="rId5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2532100" y="3519447"/>
                <a:ext cx="625868" cy="4694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44" name="TextBox 162"/>
              <p:cNvSpPr txBox="1"/>
              <p:nvPr/>
            </p:nvSpPr>
            <p:spPr>
              <a:xfrm>
                <a:off x="1685694" y="3692216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Honda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Clarity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45" name="TextBox 163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prstClr val="black"/>
                  </a:solidFill>
                  <a:latin typeface="Calibri Light" panose="020F0302020204030204"/>
                </a:rPr>
                <a:t>2019</a:t>
              </a:r>
              <a:endParaRPr lang="it-IT" sz="3200" b="1" dirty="0">
                <a:solidFill>
                  <a:prstClr val="black"/>
                </a:solidFill>
                <a:latin typeface="Calibri Light" panose="020F0302020204030204"/>
              </a:endParaRPr>
            </a:p>
          </p:txBody>
        </p:sp>
        <p:grpSp>
          <p:nvGrpSpPr>
            <p:cNvPr id="746" name="Group 164"/>
            <p:cNvGrpSpPr/>
            <p:nvPr/>
          </p:nvGrpSpPr>
          <p:grpSpPr>
            <a:xfrm>
              <a:off x="7811664" y="1644545"/>
              <a:ext cx="1743770" cy="281030"/>
              <a:chOff x="8428245" y="2115482"/>
              <a:chExt cx="1570325" cy="306898"/>
            </a:xfrm>
          </p:grpSpPr>
          <p:pic>
            <p:nvPicPr>
              <p:cNvPr id="747" name="Picture 6" descr="Image result for porsche mission e transparent"/>
              <p:cNvPicPr>
                <a:picLocks noChangeAspect="1" noChangeArrowheads="1"/>
              </p:cNvPicPr>
              <p:nvPr/>
            </p:nvPicPr>
            <p:blipFill>
              <a:blip r:embed="rId5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28245" y="2166583"/>
                <a:ext cx="676516" cy="2557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48" name="TextBox 166"/>
              <p:cNvSpPr txBox="1"/>
              <p:nvPr/>
            </p:nvSpPr>
            <p:spPr>
              <a:xfrm>
                <a:off x="8971279" y="2115482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Porsche E-sport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49" name="Group 167"/>
            <p:cNvGrpSpPr/>
            <p:nvPr/>
          </p:nvGrpSpPr>
          <p:grpSpPr>
            <a:xfrm>
              <a:off x="7952690" y="1068121"/>
              <a:ext cx="1874893" cy="245820"/>
              <a:chOff x="8614589" y="1676314"/>
              <a:chExt cx="1688406" cy="268447"/>
            </a:xfrm>
          </p:grpSpPr>
          <p:pic>
            <p:nvPicPr>
              <p:cNvPr id="750" name="Picture 168"/>
              <p:cNvPicPr>
                <a:picLocks noChangeAspect="1"/>
              </p:cNvPicPr>
              <p:nvPr/>
            </p:nvPicPr>
            <p:blipFill rotWithShape="1">
              <a:blip r:embed="rId5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0847" t="17240" r="13324" b="14721"/>
              <a:stretch/>
            </p:blipFill>
            <p:spPr>
              <a:xfrm>
                <a:off x="8614589" y="1676314"/>
                <a:ext cx="626288" cy="268447"/>
              </a:xfrm>
              <a:prstGeom prst="rect">
                <a:avLst/>
              </a:prstGeom>
            </p:spPr>
          </p:pic>
          <p:sp>
            <p:nvSpPr>
              <p:cNvPr id="751" name="TextBox 169"/>
              <p:cNvSpPr txBox="1"/>
              <p:nvPr/>
            </p:nvSpPr>
            <p:spPr>
              <a:xfrm>
                <a:off x="9275704" y="1708524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M-B EQ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52" name="Group 173"/>
            <p:cNvGrpSpPr/>
            <p:nvPr/>
          </p:nvGrpSpPr>
          <p:grpSpPr>
            <a:xfrm>
              <a:off x="5314344" y="553784"/>
              <a:ext cx="1885604" cy="328656"/>
              <a:chOff x="4725771" y="1355727"/>
              <a:chExt cx="1698051" cy="358908"/>
            </a:xfrm>
          </p:grpSpPr>
          <p:pic>
            <p:nvPicPr>
              <p:cNvPr id="753" name="Picture 12" descr="Image result for jaguar i pace transparent"/>
              <p:cNvPicPr>
                <a:picLocks noChangeAspect="1" noChangeArrowheads="1"/>
              </p:cNvPicPr>
              <p:nvPr/>
            </p:nvPicPr>
            <p:blipFill>
              <a:blip r:embed="rId5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5717311" y="1355727"/>
                <a:ext cx="706511" cy="3589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54" name="TextBox 175"/>
              <p:cNvSpPr txBox="1"/>
              <p:nvPr/>
            </p:nvSpPr>
            <p:spPr>
              <a:xfrm>
                <a:off x="4725771" y="1387183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Jaguar</a:t>
                </a:r>
              </a:p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I-Pac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58" name="TextBox 182"/>
            <p:cNvSpPr txBox="1"/>
            <p:nvPr/>
          </p:nvSpPr>
          <p:spPr>
            <a:xfrm>
              <a:off x="7503636" y="5008930"/>
              <a:ext cx="1688839" cy="576087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it-IT" sz="3200" b="1" dirty="0" smtClean="0">
                  <a:solidFill>
                    <a:schemeClr val="accent1"/>
                  </a:solidFill>
                  <a:latin typeface="+mj-lt"/>
                </a:rPr>
                <a:t>2020</a:t>
              </a:r>
              <a:endParaRPr lang="it-IT" sz="3200" b="1" dirty="0">
                <a:solidFill>
                  <a:schemeClr val="accent1"/>
                </a:solidFill>
                <a:latin typeface="+mj-lt"/>
              </a:endParaRPr>
            </a:p>
          </p:txBody>
        </p:sp>
        <p:grpSp>
          <p:nvGrpSpPr>
            <p:cNvPr id="755" name="Group 179"/>
            <p:cNvGrpSpPr/>
            <p:nvPr/>
          </p:nvGrpSpPr>
          <p:grpSpPr>
            <a:xfrm>
              <a:off x="5857731" y="865371"/>
              <a:ext cx="1876501" cy="243972"/>
              <a:chOff x="5965003" y="1457851"/>
              <a:chExt cx="1689855" cy="266429"/>
            </a:xfrm>
          </p:grpSpPr>
          <p:pic>
            <p:nvPicPr>
              <p:cNvPr id="756" name="Picture 6" descr="Image result for Mitsubishi eX"/>
              <p:cNvPicPr>
                <a:picLocks noChangeAspect="1" noChangeArrowheads="1"/>
              </p:cNvPicPr>
              <p:nvPr/>
            </p:nvPicPr>
            <p:blipFill>
              <a:blip r:embed="rId5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6997753" y="1457851"/>
                <a:ext cx="657105" cy="2664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57" name="TextBox 181"/>
              <p:cNvSpPr txBox="1"/>
              <p:nvPr/>
            </p:nvSpPr>
            <p:spPr>
              <a:xfrm>
                <a:off x="5965003" y="1499868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Mitsubishi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eX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59" name="Group 183"/>
            <p:cNvGrpSpPr/>
            <p:nvPr/>
          </p:nvGrpSpPr>
          <p:grpSpPr>
            <a:xfrm>
              <a:off x="6143789" y="1606556"/>
              <a:ext cx="769667" cy="358435"/>
              <a:chOff x="6118054" y="2161263"/>
              <a:chExt cx="693112" cy="391428"/>
            </a:xfrm>
          </p:grpSpPr>
          <p:pic>
            <p:nvPicPr>
              <p:cNvPr id="760" name="Picture 184" descr="http://car-pictures.cars.com/images/?IMG=USC10TSC011A0101.png&amp;WIDTH=624&amp;HEIGHT=300&amp;AUTOTRIM=1"/>
              <p:cNvPicPr>
                <a:picLocks noChangeAspect="1" noChangeArrowheads="1"/>
              </p:cNvPicPr>
              <p:nvPr/>
            </p:nvPicPr>
            <p:blipFill>
              <a:blip r:embed="rId60" cstate="screen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6160584" y="2161263"/>
                <a:ext cx="650582" cy="305622"/>
              </a:xfrm>
              <a:prstGeom prst="rect">
                <a:avLst/>
              </a:prstGeom>
              <a:solidFill>
                <a:srgbClr val="FFFFFF"/>
              </a:solidFill>
              <a:extLst/>
            </p:spPr>
          </p:pic>
          <p:sp>
            <p:nvSpPr>
              <p:cNvPr id="761" name="TextBox 185"/>
              <p:cNvSpPr txBox="1"/>
              <p:nvPr/>
            </p:nvSpPr>
            <p:spPr>
              <a:xfrm>
                <a:off x="6118054" y="2414556"/>
                <a:ext cx="612339" cy="13813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Tesla Roadster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62" name="Group 186"/>
            <p:cNvGrpSpPr/>
            <p:nvPr/>
          </p:nvGrpSpPr>
          <p:grpSpPr>
            <a:xfrm>
              <a:off x="6665855" y="1879446"/>
              <a:ext cx="1316050" cy="481137"/>
              <a:chOff x="6805073" y="2401204"/>
              <a:chExt cx="1185147" cy="525425"/>
            </a:xfrm>
          </p:grpSpPr>
          <p:pic>
            <p:nvPicPr>
              <p:cNvPr id="763" name="Picture 187"/>
              <p:cNvPicPr>
                <a:picLocks noChangeAspect="1"/>
              </p:cNvPicPr>
              <p:nvPr/>
            </p:nvPicPr>
            <p:blipFill>
              <a:blip r:embed="rId5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6805073" y="2401204"/>
                <a:ext cx="839146" cy="406323"/>
              </a:xfrm>
              <a:prstGeom prst="rect">
                <a:avLst/>
              </a:prstGeom>
            </p:spPr>
          </p:pic>
          <p:sp>
            <p:nvSpPr>
              <p:cNvPr id="764" name="TextBox 188"/>
              <p:cNvSpPr txBox="1"/>
              <p:nvPr/>
            </p:nvSpPr>
            <p:spPr>
              <a:xfrm>
                <a:off x="6962929" y="2752160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GLM G4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765" name="Picture 189"/>
            <p:cNvPicPr>
              <a:picLocks noChangeAspect="1"/>
            </p:cNvPicPr>
            <p:nvPr/>
          </p:nvPicPr>
          <p:blipFill>
            <a:blip r:embed="rId61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3982688" y="3183056"/>
              <a:ext cx="889575" cy="534063"/>
            </a:xfrm>
            <a:prstGeom prst="rect">
              <a:avLst/>
            </a:prstGeom>
          </p:spPr>
        </p:pic>
        <p:pic>
          <p:nvPicPr>
            <p:cNvPr id="766" name="Picture 190"/>
            <p:cNvPicPr>
              <a:picLocks noChangeAspect="1"/>
            </p:cNvPicPr>
            <p:nvPr/>
          </p:nvPicPr>
          <p:blipFill>
            <a:blip r:embed="rId13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37534" y="5227530"/>
              <a:ext cx="764497" cy="416826"/>
            </a:xfrm>
            <a:prstGeom prst="rect">
              <a:avLst/>
            </a:prstGeom>
          </p:spPr>
        </p:pic>
        <p:pic>
          <p:nvPicPr>
            <p:cNvPr id="767" name="Picture 191"/>
            <p:cNvPicPr>
              <a:picLocks noChangeAspect="1"/>
            </p:cNvPicPr>
            <p:nvPr/>
          </p:nvPicPr>
          <p:blipFill>
            <a:blip r:embed="rId62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3860008" y="4324280"/>
              <a:ext cx="643250" cy="354080"/>
            </a:xfrm>
            <a:prstGeom prst="rect">
              <a:avLst/>
            </a:prstGeom>
          </p:spPr>
        </p:pic>
        <p:pic>
          <p:nvPicPr>
            <p:cNvPr id="768" name="Picture 192"/>
            <p:cNvPicPr>
              <a:picLocks noChangeAspect="1"/>
            </p:cNvPicPr>
            <p:nvPr/>
          </p:nvPicPr>
          <p:blipFill>
            <a:blip r:embed="rId63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flipH="1">
              <a:off x="3896709" y="5731606"/>
              <a:ext cx="623877" cy="377430"/>
            </a:xfrm>
            <a:prstGeom prst="rect">
              <a:avLst/>
            </a:prstGeom>
          </p:spPr>
        </p:pic>
        <p:pic>
          <p:nvPicPr>
            <p:cNvPr id="769" name="Picture 2" descr="Image result for Renault Fluence Z.E. transparent"/>
            <p:cNvPicPr>
              <a:picLocks noChangeAspect="1" noChangeArrowheads="1"/>
            </p:cNvPicPr>
            <p:nvPr/>
          </p:nvPicPr>
          <p:blipFill rotWithShape="1">
            <a:blip r:embed="rId22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45532" y="2875907"/>
              <a:ext cx="655189" cy="383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0" name="Picture 14" descr="Image result for Honda Fit EV transparent"/>
            <p:cNvPicPr>
              <a:picLocks noChangeAspect="1" noChangeArrowheads="1"/>
            </p:cNvPicPr>
            <p:nvPr/>
          </p:nvPicPr>
          <p:blipFill>
            <a:blip r:embed="rId64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126330" y="3725683"/>
              <a:ext cx="702132" cy="4173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1" name="Picture 20" descr="Image result for coda ev sedan transparent"/>
            <p:cNvPicPr>
              <a:picLocks noChangeAspect="1" noChangeArrowheads="1"/>
            </p:cNvPicPr>
            <p:nvPr/>
          </p:nvPicPr>
          <p:blipFill>
            <a:blip r:embed="rId6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579282" y="2820805"/>
              <a:ext cx="568646" cy="3396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3" name="Picture 10" descr="Image result for Audi R8 E-tron transparent"/>
            <p:cNvPicPr>
              <a:picLocks noChangeAspect="1" noChangeArrowheads="1"/>
            </p:cNvPicPr>
            <p:nvPr/>
          </p:nvPicPr>
          <p:blipFill>
            <a:blip r:embed="rId47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559179" flipH="1">
              <a:off x="7693787" y="2144416"/>
              <a:ext cx="608143" cy="4107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74" name="Group 198"/>
            <p:cNvGrpSpPr/>
            <p:nvPr/>
          </p:nvGrpSpPr>
          <p:grpSpPr>
            <a:xfrm>
              <a:off x="5543826" y="5320104"/>
              <a:ext cx="1771304" cy="367899"/>
              <a:chOff x="5329626" y="6083196"/>
              <a:chExt cx="1595120" cy="401764"/>
            </a:xfrm>
          </p:grpSpPr>
          <p:pic>
            <p:nvPicPr>
              <p:cNvPr id="775" name="Picture 199"/>
              <p:cNvPicPr>
                <a:picLocks noChangeAspect="1"/>
              </p:cNvPicPr>
              <p:nvPr/>
            </p:nvPicPr>
            <p:blipFill>
              <a:blip r:embed="rId6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29626" y="6083196"/>
                <a:ext cx="605939" cy="401764"/>
              </a:xfrm>
              <a:prstGeom prst="rect">
                <a:avLst/>
              </a:prstGeom>
            </p:spPr>
          </p:pic>
          <p:sp>
            <p:nvSpPr>
              <p:cNvPr id="776" name="TextBox 200"/>
              <p:cNvSpPr txBox="1"/>
              <p:nvPr/>
            </p:nvSpPr>
            <p:spPr>
              <a:xfrm>
                <a:off x="5897455" y="6146968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VW e-Bulli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77" name="Group 201"/>
            <p:cNvGrpSpPr/>
            <p:nvPr/>
          </p:nvGrpSpPr>
          <p:grpSpPr>
            <a:xfrm>
              <a:off x="5029229" y="2849949"/>
              <a:ext cx="1147390" cy="427214"/>
              <a:chOff x="6234918" y="5095971"/>
              <a:chExt cx="1033264" cy="466539"/>
            </a:xfrm>
          </p:grpSpPr>
          <p:pic>
            <p:nvPicPr>
              <p:cNvPr id="778" name="Picture 202"/>
              <p:cNvPicPr>
                <a:picLocks noChangeAspect="1"/>
              </p:cNvPicPr>
              <p:nvPr/>
            </p:nvPicPr>
            <p:blipFill>
              <a:blip r:embed="rId6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6247173" y="5095971"/>
                <a:ext cx="606268" cy="373088"/>
              </a:xfrm>
              <a:prstGeom prst="rect">
                <a:avLst/>
              </a:prstGeom>
            </p:spPr>
          </p:pic>
          <p:sp>
            <p:nvSpPr>
              <p:cNvPr id="779" name="TextBox 203"/>
              <p:cNvSpPr txBox="1"/>
              <p:nvPr/>
            </p:nvSpPr>
            <p:spPr>
              <a:xfrm>
                <a:off x="6234918" y="5393168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BAIC EU260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80" name="Group 204"/>
            <p:cNvGrpSpPr/>
            <p:nvPr/>
          </p:nvGrpSpPr>
          <p:grpSpPr>
            <a:xfrm>
              <a:off x="4817162" y="2505042"/>
              <a:ext cx="1140757" cy="467289"/>
              <a:chOff x="6369422" y="5355631"/>
              <a:chExt cx="1027291" cy="510302"/>
            </a:xfrm>
          </p:grpSpPr>
          <p:pic>
            <p:nvPicPr>
              <p:cNvPr id="781" name="Picture 205"/>
              <p:cNvPicPr>
                <a:picLocks noChangeAspect="1"/>
              </p:cNvPicPr>
              <p:nvPr/>
            </p:nvPicPr>
            <p:blipFill>
              <a:blip r:embed="rId6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57521" y="5440663"/>
                <a:ext cx="779663" cy="425270"/>
              </a:xfrm>
              <a:prstGeom prst="rect">
                <a:avLst/>
              </a:prstGeom>
            </p:spPr>
          </p:pic>
          <p:sp>
            <p:nvSpPr>
              <p:cNvPr id="782" name="TextBox 206"/>
              <p:cNvSpPr txBox="1"/>
              <p:nvPr/>
            </p:nvSpPr>
            <p:spPr>
              <a:xfrm>
                <a:off x="6369422" y="5355631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Geely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Emgrand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83" name="Group 209"/>
            <p:cNvGrpSpPr/>
            <p:nvPr/>
          </p:nvGrpSpPr>
          <p:grpSpPr>
            <a:xfrm>
              <a:off x="7266174" y="1890696"/>
              <a:ext cx="1176954" cy="482940"/>
              <a:chOff x="8925136" y="3972693"/>
              <a:chExt cx="1059889" cy="527394"/>
            </a:xfrm>
          </p:grpSpPr>
          <p:pic>
            <p:nvPicPr>
              <p:cNvPr id="784" name="Picture 207"/>
              <p:cNvPicPr>
                <a:picLocks noChangeAspect="1"/>
              </p:cNvPicPr>
              <p:nvPr/>
            </p:nvPicPr>
            <p:blipFill>
              <a:blip r:embed="rId6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8925136" y="3972693"/>
                <a:ext cx="792421" cy="445737"/>
              </a:xfrm>
              <a:prstGeom prst="rect">
                <a:avLst/>
              </a:prstGeom>
            </p:spPr>
          </p:pic>
          <p:sp>
            <p:nvSpPr>
              <p:cNvPr id="785" name="TextBox 208"/>
              <p:cNvSpPr txBox="1"/>
              <p:nvPr/>
            </p:nvSpPr>
            <p:spPr>
              <a:xfrm>
                <a:off x="8957734" y="4325618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NIO ES9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86" name="Group 212"/>
            <p:cNvGrpSpPr/>
            <p:nvPr/>
          </p:nvGrpSpPr>
          <p:grpSpPr>
            <a:xfrm>
              <a:off x="6616773" y="2890048"/>
              <a:ext cx="1528316" cy="370915"/>
              <a:chOff x="5768362" y="4257081"/>
              <a:chExt cx="1376303" cy="405057"/>
            </a:xfrm>
          </p:grpSpPr>
          <p:pic>
            <p:nvPicPr>
              <p:cNvPr id="787" name="Picture 210"/>
              <p:cNvPicPr>
                <a:picLocks noChangeAspect="1"/>
              </p:cNvPicPr>
              <p:nvPr/>
            </p:nvPicPr>
            <p:blipFill>
              <a:blip r:embed="rId7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6474802" y="4257081"/>
                <a:ext cx="669863" cy="405057"/>
              </a:xfrm>
              <a:prstGeom prst="rect">
                <a:avLst/>
              </a:prstGeom>
            </p:spPr>
          </p:pic>
          <p:sp>
            <p:nvSpPr>
              <p:cNvPr id="788" name="TextBox 211"/>
              <p:cNvSpPr txBox="1"/>
              <p:nvPr/>
            </p:nvSpPr>
            <p:spPr>
              <a:xfrm>
                <a:off x="5768362" y="4310872"/>
                <a:ext cx="696522" cy="33887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Audi E-tron</a:t>
                </a:r>
              </a:p>
              <a:p>
                <a:pPr algn="r"/>
                <a:r>
                  <a:rPr lang="it-IT" sz="700" dirty="0" err="1" smtClean="0">
                    <a:solidFill>
                      <a:prstClr val="black"/>
                    </a:solidFill>
                  </a:rPr>
                  <a:t>Sportback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89" name="Group 214"/>
            <p:cNvGrpSpPr/>
            <p:nvPr/>
          </p:nvGrpSpPr>
          <p:grpSpPr>
            <a:xfrm>
              <a:off x="6770874" y="3353034"/>
              <a:ext cx="1366839" cy="542299"/>
              <a:chOff x="7189957" y="3516933"/>
              <a:chExt cx="1230888" cy="592217"/>
            </a:xfrm>
          </p:grpSpPr>
          <p:sp>
            <p:nvSpPr>
              <p:cNvPr id="790" name="TextBox 177"/>
              <p:cNvSpPr txBox="1"/>
              <p:nvPr/>
            </p:nvSpPr>
            <p:spPr>
              <a:xfrm>
                <a:off x="7393554" y="3934681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VW I.D.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791" name="Picture 213"/>
              <p:cNvPicPr>
                <a:picLocks noChangeAspect="1"/>
              </p:cNvPicPr>
              <p:nvPr/>
            </p:nvPicPr>
            <p:blipFill>
              <a:blip r:embed="rId7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89957" y="3516933"/>
                <a:ext cx="962550" cy="507595"/>
              </a:xfrm>
              <a:prstGeom prst="rect">
                <a:avLst/>
              </a:prstGeom>
            </p:spPr>
          </p:pic>
        </p:grpSp>
        <p:grpSp>
          <p:nvGrpSpPr>
            <p:cNvPr id="792" name="Group 217"/>
            <p:cNvGrpSpPr/>
            <p:nvPr/>
          </p:nvGrpSpPr>
          <p:grpSpPr>
            <a:xfrm>
              <a:off x="7811957" y="469789"/>
              <a:ext cx="1893385" cy="442906"/>
              <a:chOff x="8335471" y="4535445"/>
              <a:chExt cx="1705057" cy="483675"/>
            </a:xfrm>
          </p:grpSpPr>
          <p:pic>
            <p:nvPicPr>
              <p:cNvPr id="793" name="Picture 215"/>
              <p:cNvPicPr>
                <a:picLocks noChangeAspect="1"/>
              </p:cNvPicPr>
              <p:nvPr/>
            </p:nvPicPr>
            <p:blipFill>
              <a:blip r:embed="rId7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8335471" y="4535445"/>
                <a:ext cx="806125" cy="483675"/>
              </a:xfrm>
              <a:prstGeom prst="rect">
                <a:avLst/>
              </a:prstGeom>
            </p:spPr>
          </p:pic>
          <p:sp>
            <p:nvSpPr>
              <p:cNvPr id="794" name="TextBox 216"/>
              <p:cNvSpPr txBox="1"/>
              <p:nvPr/>
            </p:nvSpPr>
            <p:spPr>
              <a:xfrm>
                <a:off x="9013237" y="4731751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VW I.D. CROZZ 	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95" name="Group 221"/>
            <p:cNvGrpSpPr/>
            <p:nvPr/>
          </p:nvGrpSpPr>
          <p:grpSpPr>
            <a:xfrm>
              <a:off x="6170196" y="1211887"/>
              <a:ext cx="1429169" cy="519597"/>
              <a:chOff x="6388013" y="2932165"/>
              <a:chExt cx="1287017" cy="567425"/>
            </a:xfrm>
          </p:grpSpPr>
          <p:pic>
            <p:nvPicPr>
              <p:cNvPr id="796" name="Picture 222"/>
              <p:cNvPicPr>
                <a:picLocks noChangeAspect="1"/>
              </p:cNvPicPr>
              <p:nvPr/>
            </p:nvPicPr>
            <p:blipFill>
              <a:blip r:embed="rId7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6823893" y="2932165"/>
                <a:ext cx="851137" cy="567425"/>
              </a:xfrm>
              <a:prstGeom prst="rect">
                <a:avLst/>
              </a:prstGeom>
            </p:spPr>
          </p:pic>
          <p:sp>
            <p:nvSpPr>
              <p:cNvPr id="797" name="TextBox 223"/>
              <p:cNvSpPr txBox="1"/>
              <p:nvPr/>
            </p:nvSpPr>
            <p:spPr>
              <a:xfrm>
                <a:off x="6388013" y="3161314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NIO ES8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798" name="Group 226"/>
            <p:cNvGrpSpPr/>
            <p:nvPr/>
          </p:nvGrpSpPr>
          <p:grpSpPr>
            <a:xfrm>
              <a:off x="9665326" y="1973768"/>
              <a:ext cx="1140757" cy="415735"/>
              <a:chOff x="8736708" y="4179137"/>
              <a:chExt cx="1027291" cy="454003"/>
            </a:xfrm>
          </p:grpSpPr>
          <p:pic>
            <p:nvPicPr>
              <p:cNvPr id="799" name="Picture 224"/>
              <p:cNvPicPr>
                <a:picLocks noChangeAspect="1"/>
              </p:cNvPicPr>
              <p:nvPr/>
            </p:nvPicPr>
            <p:blipFill>
              <a:blip r:embed="rId7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8866416" y="4179137"/>
                <a:ext cx="624145" cy="279892"/>
              </a:xfrm>
              <a:prstGeom prst="rect">
                <a:avLst/>
              </a:prstGeom>
            </p:spPr>
          </p:pic>
          <p:sp>
            <p:nvSpPr>
              <p:cNvPr id="800" name="TextBox 225"/>
              <p:cNvSpPr txBox="1"/>
              <p:nvPr/>
            </p:nvSpPr>
            <p:spPr>
              <a:xfrm>
                <a:off x="8736708" y="4458671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Tesla Roadster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01" name="Group 229"/>
            <p:cNvGrpSpPr/>
            <p:nvPr/>
          </p:nvGrpSpPr>
          <p:grpSpPr>
            <a:xfrm>
              <a:off x="4548713" y="5668912"/>
              <a:ext cx="1737835" cy="368833"/>
              <a:chOff x="4400193" y="5863811"/>
              <a:chExt cx="1564980" cy="402784"/>
            </a:xfrm>
          </p:grpSpPr>
          <p:pic>
            <p:nvPicPr>
              <p:cNvPr id="802" name="Picture 227"/>
              <p:cNvPicPr>
                <a:picLocks noChangeAspect="1"/>
              </p:cNvPicPr>
              <p:nvPr/>
            </p:nvPicPr>
            <p:blipFill>
              <a:blip r:embed="rId7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400193" y="5863811"/>
                <a:ext cx="533847" cy="399870"/>
              </a:xfrm>
              <a:prstGeom prst="rect">
                <a:avLst/>
              </a:prstGeom>
            </p:spPr>
          </p:pic>
          <p:sp>
            <p:nvSpPr>
              <p:cNvPr id="803" name="TextBox 228"/>
              <p:cNvSpPr txBox="1"/>
              <p:nvPr/>
            </p:nvSpPr>
            <p:spPr>
              <a:xfrm>
                <a:off x="4931909" y="6097253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ChangAn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EM80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04" name="Group 232"/>
            <p:cNvGrpSpPr/>
            <p:nvPr/>
          </p:nvGrpSpPr>
          <p:grpSpPr>
            <a:xfrm>
              <a:off x="7448698" y="5932942"/>
              <a:ext cx="1692324" cy="325805"/>
              <a:chOff x="8414678" y="3838495"/>
              <a:chExt cx="1523997" cy="355795"/>
            </a:xfrm>
          </p:grpSpPr>
          <p:pic>
            <p:nvPicPr>
              <p:cNvPr id="805" name="Picture 230"/>
              <p:cNvPicPr>
                <a:picLocks noChangeAspect="1"/>
              </p:cNvPicPr>
              <p:nvPr/>
            </p:nvPicPr>
            <p:blipFill>
              <a:blip r:embed="rId7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14678" y="3838495"/>
                <a:ext cx="474393" cy="355795"/>
              </a:xfrm>
              <a:prstGeom prst="rect">
                <a:avLst/>
              </a:prstGeom>
            </p:spPr>
          </p:pic>
          <p:sp>
            <p:nvSpPr>
              <p:cNvPr id="806" name="TextBox 231"/>
              <p:cNvSpPr txBox="1"/>
              <p:nvPr/>
            </p:nvSpPr>
            <p:spPr>
              <a:xfrm>
                <a:off x="8911384" y="397037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VW I.D. BUZZ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07" name="Group 235"/>
            <p:cNvGrpSpPr/>
            <p:nvPr/>
          </p:nvGrpSpPr>
          <p:grpSpPr>
            <a:xfrm>
              <a:off x="3796580" y="1438351"/>
              <a:ext cx="1202630" cy="560073"/>
              <a:chOff x="3454756" y="1615647"/>
              <a:chExt cx="1083010" cy="611627"/>
            </a:xfrm>
          </p:grpSpPr>
          <p:pic>
            <p:nvPicPr>
              <p:cNvPr id="808" name="Picture 233"/>
              <p:cNvPicPr>
                <a:picLocks noChangeAspect="1"/>
              </p:cNvPicPr>
              <p:nvPr/>
            </p:nvPicPr>
            <p:blipFill>
              <a:blip r:embed="rId7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54756" y="1615647"/>
                <a:ext cx="923045" cy="576903"/>
              </a:xfrm>
              <a:prstGeom prst="rect">
                <a:avLst/>
              </a:prstGeom>
            </p:spPr>
          </p:pic>
          <p:sp>
            <p:nvSpPr>
              <p:cNvPr id="809" name="TextBox 234"/>
              <p:cNvSpPr txBox="1"/>
              <p:nvPr/>
            </p:nvSpPr>
            <p:spPr>
              <a:xfrm>
                <a:off x="3510475" y="205280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Renault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DeZir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10" name="Group 238"/>
            <p:cNvGrpSpPr/>
            <p:nvPr/>
          </p:nvGrpSpPr>
          <p:grpSpPr>
            <a:xfrm>
              <a:off x="5033516" y="439990"/>
              <a:ext cx="1140757" cy="617568"/>
              <a:chOff x="4713962" y="610155"/>
              <a:chExt cx="1027291" cy="674414"/>
            </a:xfrm>
          </p:grpSpPr>
          <p:pic>
            <p:nvPicPr>
              <p:cNvPr id="811" name="Picture 236"/>
              <p:cNvPicPr>
                <a:picLocks noChangeAspect="1"/>
              </p:cNvPicPr>
              <p:nvPr/>
            </p:nvPicPr>
            <p:blipFill>
              <a:blip r:embed="rId7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4821661" y="610155"/>
                <a:ext cx="899220" cy="674414"/>
              </a:xfrm>
              <a:prstGeom prst="rect">
                <a:avLst/>
              </a:prstGeom>
            </p:spPr>
          </p:pic>
          <p:sp>
            <p:nvSpPr>
              <p:cNvPr id="812" name="TextBox 237"/>
              <p:cNvSpPr txBox="1"/>
              <p:nvPr/>
            </p:nvSpPr>
            <p:spPr>
              <a:xfrm>
                <a:off x="4713962" y="1094493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/>
                <a:r>
                  <a:rPr lang="it-IT" sz="700" dirty="0" err="1" smtClean="0">
                    <a:solidFill>
                      <a:prstClr val="black"/>
                    </a:solidFill>
                  </a:rPr>
                  <a:t>Trumpchi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GS4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13" name="Group 241"/>
            <p:cNvGrpSpPr/>
            <p:nvPr/>
          </p:nvGrpSpPr>
          <p:grpSpPr>
            <a:xfrm>
              <a:off x="2680533" y="2567427"/>
              <a:ext cx="1734754" cy="407534"/>
              <a:chOff x="2051867" y="2758764"/>
              <a:chExt cx="1562207" cy="445047"/>
            </a:xfrm>
          </p:grpSpPr>
          <p:pic>
            <p:nvPicPr>
              <p:cNvPr id="814" name="Picture 239"/>
              <p:cNvPicPr>
                <a:picLocks noChangeAspect="1"/>
              </p:cNvPicPr>
              <p:nvPr/>
            </p:nvPicPr>
            <p:blipFill>
              <a:blip r:embed="rId79"/>
              <a:stretch>
                <a:fillRect/>
              </a:stretch>
            </p:blipFill>
            <p:spPr>
              <a:xfrm flipH="1">
                <a:off x="2943456" y="2758764"/>
                <a:ext cx="670618" cy="445047"/>
              </a:xfrm>
              <a:prstGeom prst="rect">
                <a:avLst/>
              </a:prstGeom>
            </p:spPr>
          </p:pic>
          <p:sp>
            <p:nvSpPr>
              <p:cNvPr id="815" name="TextBox 240"/>
              <p:cNvSpPr txBox="1"/>
              <p:nvPr/>
            </p:nvSpPr>
            <p:spPr>
              <a:xfrm>
                <a:off x="2051867" y="289849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SAIC E-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Lavida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16" name="Group 244"/>
            <p:cNvGrpSpPr/>
            <p:nvPr/>
          </p:nvGrpSpPr>
          <p:grpSpPr>
            <a:xfrm>
              <a:off x="3545572" y="5379263"/>
              <a:ext cx="609464" cy="554927"/>
              <a:chOff x="3139232" y="5557039"/>
              <a:chExt cx="548843" cy="606007"/>
            </a:xfrm>
          </p:grpSpPr>
          <p:pic>
            <p:nvPicPr>
              <p:cNvPr id="817" name="Picture 242"/>
              <p:cNvPicPr>
                <a:picLocks noChangeAspect="1"/>
              </p:cNvPicPr>
              <p:nvPr/>
            </p:nvPicPr>
            <p:blipFill>
              <a:blip r:embed="rId8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3154303" y="5557039"/>
                <a:ext cx="424204" cy="303003"/>
              </a:xfrm>
              <a:prstGeom prst="rect">
                <a:avLst/>
              </a:prstGeom>
            </p:spPr>
          </p:pic>
          <p:sp>
            <p:nvSpPr>
              <p:cNvPr id="818" name="TextBox 243"/>
              <p:cNvSpPr txBox="1"/>
              <p:nvPr/>
            </p:nvSpPr>
            <p:spPr>
              <a:xfrm>
                <a:off x="3139232" y="5839910"/>
                <a:ext cx="548843" cy="32313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/>
                <a:r>
                  <a:rPr lang="it-IT" sz="700" dirty="0" smtClean="0">
                    <a:solidFill>
                      <a:prstClr val="black"/>
                    </a:solidFill>
                  </a:rPr>
                  <a:t>Tata</a:t>
                </a:r>
              </a:p>
              <a:p>
                <a:pPr algn="ctr"/>
                <a:r>
                  <a:rPr lang="it-IT" sz="700" dirty="0" smtClean="0">
                    <a:solidFill>
                      <a:prstClr val="black"/>
                    </a:solidFill>
                  </a:rPr>
                  <a:t>IRIS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19" name="Group 248"/>
            <p:cNvGrpSpPr/>
            <p:nvPr/>
          </p:nvGrpSpPr>
          <p:grpSpPr>
            <a:xfrm>
              <a:off x="7420697" y="577143"/>
              <a:ext cx="752004" cy="303034"/>
              <a:chOff x="7185491" y="2484964"/>
              <a:chExt cx="677207" cy="330928"/>
            </a:xfrm>
          </p:grpSpPr>
          <p:pic>
            <p:nvPicPr>
              <p:cNvPr id="820" name="Picture 249"/>
              <p:cNvPicPr>
                <a:picLocks noChangeAspect="1"/>
              </p:cNvPicPr>
              <p:nvPr/>
            </p:nvPicPr>
            <p:blipFill>
              <a:blip r:embed="rId5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7185491" y="2487982"/>
                <a:ext cx="677207" cy="327910"/>
              </a:xfrm>
              <a:prstGeom prst="rect">
                <a:avLst/>
              </a:prstGeom>
            </p:spPr>
          </p:pic>
          <p:sp>
            <p:nvSpPr>
              <p:cNvPr id="821" name="TextBox 250"/>
              <p:cNvSpPr txBox="1"/>
              <p:nvPr/>
            </p:nvSpPr>
            <p:spPr>
              <a:xfrm>
                <a:off x="7290764" y="2484964"/>
                <a:ext cx="492911" cy="1871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VW I.D.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22" name="Group 176"/>
            <p:cNvGrpSpPr/>
            <p:nvPr/>
          </p:nvGrpSpPr>
          <p:grpSpPr>
            <a:xfrm>
              <a:off x="7919986" y="1231824"/>
              <a:ext cx="2234084" cy="410886"/>
              <a:chOff x="7268054" y="4270516"/>
              <a:chExt cx="2011869" cy="448709"/>
            </a:xfrm>
          </p:grpSpPr>
          <p:pic>
            <p:nvPicPr>
              <p:cNvPr id="823" name="Picture 2"/>
              <p:cNvPicPr>
                <a:picLocks noChangeAspect="1"/>
              </p:cNvPicPr>
              <p:nvPr/>
            </p:nvPicPr>
            <p:blipFill>
              <a:blip r:embed="rId81"/>
              <a:stretch>
                <a:fillRect/>
              </a:stretch>
            </p:blipFill>
            <p:spPr>
              <a:xfrm>
                <a:off x="7268054" y="4270516"/>
                <a:ext cx="801266" cy="448709"/>
              </a:xfrm>
              <a:prstGeom prst="rect">
                <a:avLst/>
              </a:prstGeom>
            </p:spPr>
          </p:pic>
          <p:sp>
            <p:nvSpPr>
              <p:cNvPr id="824" name="TextBox 254"/>
              <p:cNvSpPr txBox="1"/>
              <p:nvPr/>
            </p:nvSpPr>
            <p:spPr>
              <a:xfrm>
                <a:off x="7964372" y="4335092"/>
                <a:ext cx="1315551" cy="30115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Audi E-tron</a:t>
                </a:r>
              </a:p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Quattro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25" name="Group 178"/>
            <p:cNvGrpSpPr/>
            <p:nvPr/>
          </p:nvGrpSpPr>
          <p:grpSpPr>
            <a:xfrm>
              <a:off x="5799522" y="1046452"/>
              <a:ext cx="1848301" cy="336192"/>
              <a:chOff x="7432417" y="4072561"/>
              <a:chExt cx="1664460" cy="367138"/>
            </a:xfrm>
          </p:grpSpPr>
          <p:pic>
            <p:nvPicPr>
              <p:cNvPr id="826" name="Picture 255"/>
              <p:cNvPicPr>
                <a:picLocks noChangeAspect="1"/>
              </p:cNvPicPr>
              <p:nvPr/>
            </p:nvPicPr>
            <p:blipFill>
              <a:blip r:embed="rId8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8362599" y="4072561"/>
                <a:ext cx="734278" cy="367138"/>
              </a:xfrm>
              <a:prstGeom prst="rect">
                <a:avLst/>
              </a:prstGeom>
            </p:spPr>
          </p:pic>
          <p:sp>
            <p:nvSpPr>
              <p:cNvPr id="827" name="TextBox 256"/>
              <p:cNvSpPr txBox="1"/>
              <p:nvPr/>
            </p:nvSpPr>
            <p:spPr>
              <a:xfrm>
                <a:off x="7432417" y="4109399"/>
                <a:ext cx="1027291" cy="1657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Tesla</a:t>
                </a:r>
              </a:p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Model Y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28" name="Group 218"/>
            <p:cNvGrpSpPr/>
            <p:nvPr/>
          </p:nvGrpSpPr>
          <p:grpSpPr>
            <a:xfrm>
              <a:off x="5507881" y="2954620"/>
              <a:ext cx="1354409" cy="437806"/>
              <a:chOff x="6242130" y="4566168"/>
              <a:chExt cx="1219693" cy="478106"/>
            </a:xfrm>
          </p:grpSpPr>
          <p:sp>
            <p:nvSpPr>
              <p:cNvPr id="829" name="TextBox 136"/>
              <p:cNvSpPr txBox="1"/>
              <p:nvPr/>
            </p:nvSpPr>
            <p:spPr>
              <a:xfrm>
                <a:off x="6434532" y="486980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BYD e5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830" name="Picture 257"/>
              <p:cNvPicPr>
                <a:picLocks noChangeAspect="1"/>
              </p:cNvPicPr>
              <p:nvPr/>
            </p:nvPicPr>
            <p:blipFill>
              <a:blip r:embed="rId8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42130" y="4566168"/>
                <a:ext cx="856220" cy="332550"/>
              </a:xfrm>
              <a:prstGeom prst="rect">
                <a:avLst/>
              </a:prstGeom>
            </p:spPr>
          </p:pic>
        </p:grpSp>
        <p:grpSp>
          <p:nvGrpSpPr>
            <p:cNvPr id="831" name="Group 219"/>
            <p:cNvGrpSpPr/>
            <p:nvPr/>
          </p:nvGrpSpPr>
          <p:grpSpPr>
            <a:xfrm>
              <a:off x="7932056" y="736912"/>
              <a:ext cx="1530416" cy="467900"/>
              <a:chOff x="8786591" y="4260486"/>
              <a:chExt cx="1378194" cy="510969"/>
            </a:xfrm>
          </p:grpSpPr>
          <p:sp>
            <p:nvSpPr>
              <p:cNvPr id="832" name="TextBox 253"/>
              <p:cNvSpPr txBox="1"/>
              <p:nvPr/>
            </p:nvSpPr>
            <p:spPr>
              <a:xfrm>
                <a:off x="9522247" y="4452258"/>
                <a:ext cx="642538" cy="31919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Volvo 40.2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833" name="Picture 258"/>
              <p:cNvPicPr>
                <a:picLocks noChangeAspect="1"/>
              </p:cNvPicPr>
              <p:nvPr/>
            </p:nvPicPr>
            <p:blipFill>
              <a:blip r:embed="rId8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8786591" y="4260486"/>
                <a:ext cx="709721" cy="433339"/>
              </a:xfrm>
              <a:prstGeom prst="rect">
                <a:avLst/>
              </a:prstGeom>
            </p:spPr>
          </p:pic>
        </p:grpSp>
        <p:grpSp>
          <p:nvGrpSpPr>
            <p:cNvPr id="834" name="Group 261"/>
            <p:cNvGrpSpPr/>
            <p:nvPr/>
          </p:nvGrpSpPr>
          <p:grpSpPr>
            <a:xfrm>
              <a:off x="6599269" y="538682"/>
              <a:ext cx="1869243" cy="277146"/>
              <a:chOff x="8464917" y="4509433"/>
              <a:chExt cx="1683318" cy="302658"/>
            </a:xfrm>
          </p:grpSpPr>
          <p:pic>
            <p:nvPicPr>
              <p:cNvPr id="835" name="Picture 259"/>
              <p:cNvPicPr>
                <a:picLocks noChangeAspect="1"/>
              </p:cNvPicPr>
              <p:nvPr/>
            </p:nvPicPr>
            <p:blipFill rotWithShape="1">
              <a:blip r:embed="rId8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8464917" y="4509433"/>
                <a:ext cx="713296" cy="302658"/>
              </a:xfrm>
              <a:prstGeom prst="rect">
                <a:avLst/>
              </a:prstGeom>
            </p:spPr>
          </p:pic>
          <p:sp>
            <p:nvSpPr>
              <p:cNvPr id="836" name="TextBox 260"/>
              <p:cNvSpPr txBox="1"/>
              <p:nvPr/>
            </p:nvSpPr>
            <p:spPr>
              <a:xfrm>
                <a:off x="9120944" y="4549045"/>
                <a:ext cx="1027291" cy="17127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Tesla</a:t>
                </a:r>
              </a:p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pickup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pic>
          <p:nvPicPr>
            <p:cNvPr id="837" name="Picture 263"/>
            <p:cNvPicPr>
              <a:picLocks noChangeAspect="1"/>
            </p:cNvPicPr>
            <p:nvPr/>
          </p:nvPicPr>
          <p:blipFill rotWithShape="1">
            <a:blip r:embed="rId86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3639509" y="3879028"/>
              <a:ext cx="672777" cy="350357"/>
            </a:xfrm>
            <a:prstGeom prst="rect">
              <a:avLst/>
            </a:prstGeom>
          </p:spPr>
        </p:pic>
        <p:grpSp>
          <p:nvGrpSpPr>
            <p:cNvPr id="838" name="Group 266"/>
            <p:cNvGrpSpPr/>
            <p:nvPr/>
          </p:nvGrpSpPr>
          <p:grpSpPr>
            <a:xfrm>
              <a:off x="6187882" y="3876873"/>
              <a:ext cx="1147390" cy="452983"/>
              <a:chOff x="6708484" y="4654486"/>
              <a:chExt cx="1033264" cy="494680"/>
            </a:xfrm>
          </p:grpSpPr>
          <p:pic>
            <p:nvPicPr>
              <p:cNvPr id="839" name="Picture 264"/>
              <p:cNvPicPr>
                <a:picLocks noChangeAspect="1"/>
              </p:cNvPicPr>
              <p:nvPr/>
            </p:nvPicPr>
            <p:blipFill>
              <a:blip r:embed="rId8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6870387" y="4654486"/>
                <a:ext cx="709458" cy="400502"/>
              </a:xfrm>
              <a:prstGeom prst="rect">
                <a:avLst/>
              </a:prstGeom>
            </p:spPr>
          </p:pic>
          <p:sp>
            <p:nvSpPr>
              <p:cNvPr id="840" name="TextBox 265"/>
              <p:cNvSpPr txBox="1"/>
              <p:nvPr/>
            </p:nvSpPr>
            <p:spPr>
              <a:xfrm>
                <a:off x="6708484" y="4979824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ctr"/>
                <a:r>
                  <a:rPr lang="it-IT" sz="700" dirty="0" smtClean="0">
                    <a:solidFill>
                      <a:prstClr val="black"/>
                    </a:solidFill>
                  </a:rPr>
                  <a:t>Nissan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Leaf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2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41" name="Group 269"/>
            <p:cNvGrpSpPr/>
            <p:nvPr/>
          </p:nvGrpSpPr>
          <p:grpSpPr>
            <a:xfrm>
              <a:off x="8107774" y="2799759"/>
              <a:ext cx="1398980" cy="210806"/>
              <a:chOff x="8836596" y="3149997"/>
              <a:chExt cx="1259830" cy="230211"/>
            </a:xfrm>
          </p:grpSpPr>
          <p:pic>
            <p:nvPicPr>
              <p:cNvPr id="842" name="Picture 267"/>
              <p:cNvPicPr>
                <a:picLocks noChangeAspect="1"/>
              </p:cNvPicPr>
              <p:nvPr/>
            </p:nvPicPr>
            <p:blipFill rotWithShape="1">
              <a:blip r:embed="rId8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3125" t="44444" r="11250" b="11111"/>
              <a:stretch/>
            </p:blipFill>
            <p:spPr>
              <a:xfrm flipH="1">
                <a:off x="9400038" y="3149997"/>
                <a:ext cx="696388" cy="230211"/>
              </a:xfrm>
              <a:prstGeom prst="rect">
                <a:avLst/>
              </a:prstGeom>
            </p:spPr>
          </p:pic>
          <p:sp>
            <p:nvSpPr>
              <p:cNvPr id="843" name="TextBox 268"/>
              <p:cNvSpPr txBox="1"/>
              <p:nvPr/>
            </p:nvSpPr>
            <p:spPr>
              <a:xfrm>
                <a:off x="8836596" y="3182638"/>
                <a:ext cx="636533" cy="17828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Lucid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Air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44" name="TextBox 270"/>
            <p:cNvSpPr txBox="1"/>
            <p:nvPr/>
          </p:nvSpPr>
          <p:spPr>
            <a:xfrm>
              <a:off x="9695893" y="6325751"/>
              <a:ext cx="261499" cy="1303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it-IT" sz="700" dirty="0" smtClean="0">
                  <a:solidFill>
                    <a:prstClr val="black"/>
                  </a:solidFill>
                </a:rPr>
                <a:t> +</a:t>
              </a:r>
              <a:endParaRPr lang="it-IT" sz="700" dirty="0">
                <a:solidFill>
                  <a:prstClr val="black"/>
                </a:solidFill>
              </a:endParaRPr>
            </a:p>
          </p:txBody>
        </p:sp>
        <p:grpSp>
          <p:nvGrpSpPr>
            <p:cNvPr id="845" name="Group 273"/>
            <p:cNvGrpSpPr/>
            <p:nvPr/>
          </p:nvGrpSpPr>
          <p:grpSpPr>
            <a:xfrm>
              <a:off x="7999991" y="2912190"/>
              <a:ext cx="1547869" cy="468125"/>
              <a:chOff x="8746380" y="3149430"/>
              <a:chExt cx="1393910" cy="511214"/>
            </a:xfrm>
          </p:grpSpPr>
          <p:pic>
            <p:nvPicPr>
              <p:cNvPr id="846" name="Picture 271"/>
              <p:cNvPicPr>
                <a:picLocks noChangeAspect="1"/>
              </p:cNvPicPr>
              <p:nvPr/>
            </p:nvPicPr>
            <p:blipFill>
              <a:blip r:embed="rId8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9458670" y="3149430"/>
                <a:ext cx="681620" cy="511214"/>
              </a:xfrm>
              <a:prstGeom prst="rect">
                <a:avLst/>
              </a:prstGeom>
            </p:spPr>
          </p:pic>
          <p:sp>
            <p:nvSpPr>
              <p:cNvPr id="847" name="TextBox 272"/>
              <p:cNvSpPr txBox="1"/>
              <p:nvPr/>
            </p:nvSpPr>
            <p:spPr>
              <a:xfrm>
                <a:off x="8746380" y="3330372"/>
                <a:ext cx="693238" cy="1827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Faraday</a:t>
                </a:r>
              </a:p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FF91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48" name="Group 276"/>
            <p:cNvGrpSpPr/>
            <p:nvPr/>
          </p:nvGrpSpPr>
          <p:grpSpPr>
            <a:xfrm>
              <a:off x="8123911" y="2358957"/>
              <a:ext cx="1548484" cy="530766"/>
              <a:chOff x="8924810" y="2611545"/>
              <a:chExt cx="1394464" cy="579621"/>
            </a:xfrm>
          </p:grpSpPr>
          <p:pic>
            <p:nvPicPr>
              <p:cNvPr id="849" name="Picture 274"/>
              <p:cNvPicPr>
                <a:picLocks noChangeAspect="1"/>
              </p:cNvPicPr>
              <p:nvPr/>
            </p:nvPicPr>
            <p:blipFill>
              <a:blip r:embed="rId9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288835" y="2611545"/>
                <a:ext cx="1030439" cy="579621"/>
              </a:xfrm>
              <a:prstGeom prst="rect">
                <a:avLst/>
              </a:prstGeom>
            </p:spPr>
          </p:pic>
          <p:sp>
            <p:nvSpPr>
              <p:cNvPr id="850" name="TextBox 275"/>
              <p:cNvSpPr txBox="1"/>
              <p:nvPr/>
            </p:nvSpPr>
            <p:spPr>
              <a:xfrm>
                <a:off x="8924810" y="2837135"/>
                <a:ext cx="693238" cy="18278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NIO EV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51" name="Group 279"/>
            <p:cNvGrpSpPr/>
            <p:nvPr/>
          </p:nvGrpSpPr>
          <p:grpSpPr>
            <a:xfrm>
              <a:off x="7123016" y="2343765"/>
              <a:ext cx="1140757" cy="511792"/>
              <a:chOff x="8893640" y="4026182"/>
              <a:chExt cx="1027291" cy="558902"/>
            </a:xfrm>
          </p:grpSpPr>
          <p:pic>
            <p:nvPicPr>
              <p:cNvPr id="852" name="Picture 277"/>
              <p:cNvPicPr>
                <a:picLocks noChangeAspect="1"/>
              </p:cNvPicPr>
              <p:nvPr/>
            </p:nvPicPr>
            <p:blipFill>
              <a:blip r:embed="rId9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8903982" y="4026182"/>
                <a:ext cx="749928" cy="457624"/>
              </a:xfrm>
              <a:prstGeom prst="rect">
                <a:avLst/>
              </a:prstGeom>
            </p:spPr>
          </p:pic>
          <p:sp>
            <p:nvSpPr>
              <p:cNvPr id="853" name="TextBox 278"/>
              <p:cNvSpPr txBox="1"/>
              <p:nvPr/>
            </p:nvSpPr>
            <p:spPr>
              <a:xfrm>
                <a:off x="8893640" y="4410615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err="1" smtClean="0">
                    <a:solidFill>
                      <a:prstClr val="black"/>
                    </a:solidFill>
                  </a:rPr>
                  <a:t>LeEco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LeSE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54" name="Group 282"/>
            <p:cNvGrpSpPr/>
            <p:nvPr/>
          </p:nvGrpSpPr>
          <p:grpSpPr>
            <a:xfrm>
              <a:off x="6711446" y="1254591"/>
              <a:ext cx="1901299" cy="342814"/>
              <a:chOff x="7036775" y="2980850"/>
              <a:chExt cx="1712187" cy="374370"/>
            </a:xfrm>
          </p:grpSpPr>
          <p:pic>
            <p:nvPicPr>
              <p:cNvPr id="855" name="Picture 280"/>
              <p:cNvPicPr>
                <a:picLocks noChangeAspect="1"/>
              </p:cNvPicPr>
              <p:nvPr/>
            </p:nvPicPr>
            <p:blipFill>
              <a:blip r:embed="rId5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7975806" y="2980850"/>
                <a:ext cx="773156" cy="374370"/>
              </a:xfrm>
              <a:prstGeom prst="rect">
                <a:avLst/>
              </a:prstGeom>
            </p:spPr>
          </p:pic>
          <p:sp>
            <p:nvSpPr>
              <p:cNvPr id="856" name="TextBox 281"/>
              <p:cNvSpPr txBox="1"/>
              <p:nvPr/>
            </p:nvSpPr>
            <p:spPr>
              <a:xfrm>
                <a:off x="7036775" y="3031343"/>
                <a:ext cx="1027291" cy="26706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err="1" smtClean="0">
                    <a:solidFill>
                      <a:prstClr val="black"/>
                    </a:solidFill>
                  </a:rPr>
                  <a:t>Chehejia</a:t>
                </a:r>
                <a:endParaRPr lang="it-IT" sz="700" dirty="0" smtClean="0">
                  <a:solidFill>
                    <a:prstClr val="black"/>
                  </a:solidFill>
                </a:endParaRPr>
              </a:p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SUV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57" name="Group 285"/>
            <p:cNvGrpSpPr/>
            <p:nvPr/>
          </p:nvGrpSpPr>
          <p:grpSpPr>
            <a:xfrm>
              <a:off x="7185335" y="841849"/>
              <a:ext cx="1701693" cy="265888"/>
              <a:chOff x="7269501" y="4628896"/>
              <a:chExt cx="1532433" cy="290363"/>
            </a:xfrm>
          </p:grpSpPr>
          <p:pic>
            <p:nvPicPr>
              <p:cNvPr id="858" name="Picture 283"/>
              <p:cNvPicPr>
                <a:picLocks noChangeAspect="1"/>
              </p:cNvPicPr>
              <p:nvPr/>
            </p:nvPicPr>
            <p:blipFill>
              <a:blip r:embed="rId9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69501" y="4628896"/>
                <a:ext cx="548663" cy="290363"/>
              </a:xfrm>
              <a:prstGeom prst="rect">
                <a:avLst/>
              </a:prstGeom>
            </p:spPr>
          </p:pic>
          <p:sp>
            <p:nvSpPr>
              <p:cNvPr id="859" name="TextBox 284"/>
              <p:cNvSpPr txBox="1"/>
              <p:nvPr/>
            </p:nvSpPr>
            <p:spPr>
              <a:xfrm>
                <a:off x="7774643" y="4660508"/>
                <a:ext cx="1027291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BMW i5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60" name="Group 288"/>
            <p:cNvGrpSpPr/>
            <p:nvPr/>
          </p:nvGrpSpPr>
          <p:grpSpPr>
            <a:xfrm>
              <a:off x="4589940" y="4520951"/>
              <a:ext cx="1185580" cy="428007"/>
              <a:chOff x="4475634" y="4710429"/>
              <a:chExt cx="1067655" cy="467405"/>
            </a:xfrm>
          </p:grpSpPr>
          <p:pic>
            <p:nvPicPr>
              <p:cNvPr id="861" name="Picture 286"/>
              <p:cNvPicPr>
                <a:picLocks noChangeAspect="1"/>
              </p:cNvPicPr>
              <p:nvPr/>
            </p:nvPicPr>
            <p:blipFill>
              <a:blip r:embed="rId9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51895">
                <a:off x="4475634" y="4710429"/>
                <a:ext cx="575733" cy="345441"/>
              </a:xfrm>
              <a:prstGeom prst="rect">
                <a:avLst/>
              </a:prstGeom>
            </p:spPr>
          </p:pic>
          <p:sp>
            <p:nvSpPr>
              <p:cNvPr id="862" name="TextBox 287"/>
              <p:cNvSpPr txBox="1"/>
              <p:nvPr/>
            </p:nvSpPr>
            <p:spPr>
              <a:xfrm>
                <a:off x="4510025" y="5008492"/>
                <a:ext cx="1033264" cy="16934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Seat </a:t>
                </a:r>
                <a:r>
                  <a:rPr lang="it-IT" sz="700" dirty="0" err="1" smtClean="0">
                    <a:solidFill>
                      <a:prstClr val="black"/>
                    </a:solidFill>
                  </a:rPr>
                  <a:t>Mii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*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63" name="Group 291"/>
            <p:cNvGrpSpPr/>
            <p:nvPr/>
          </p:nvGrpSpPr>
          <p:grpSpPr>
            <a:xfrm>
              <a:off x="6988050" y="1054788"/>
              <a:ext cx="1972526" cy="287286"/>
              <a:chOff x="6637692" y="4162703"/>
              <a:chExt cx="1776329" cy="313731"/>
            </a:xfrm>
          </p:grpSpPr>
          <p:pic>
            <p:nvPicPr>
              <p:cNvPr id="864" name="Picture 289"/>
              <p:cNvPicPr>
                <a:picLocks noChangeAspect="1"/>
              </p:cNvPicPr>
              <p:nvPr/>
            </p:nvPicPr>
            <p:blipFill>
              <a:blip r:embed="rId9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6637692" y="4170809"/>
                <a:ext cx="880197" cy="305625"/>
              </a:xfrm>
              <a:prstGeom prst="rect">
                <a:avLst/>
              </a:prstGeom>
            </p:spPr>
          </p:pic>
          <p:sp>
            <p:nvSpPr>
              <p:cNvPr id="865" name="TextBox 290"/>
              <p:cNvSpPr txBox="1"/>
              <p:nvPr/>
            </p:nvSpPr>
            <p:spPr>
              <a:xfrm>
                <a:off x="7380757" y="4162703"/>
                <a:ext cx="1033264" cy="2771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Tesla</a:t>
                </a:r>
              </a:p>
              <a:p>
                <a:r>
                  <a:rPr lang="it-IT" sz="700" dirty="0" smtClean="0">
                    <a:solidFill>
                      <a:prstClr val="black"/>
                    </a:solidFill>
                  </a:rPr>
                  <a:t>Model X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66" name="Group 293"/>
            <p:cNvGrpSpPr/>
            <p:nvPr/>
          </p:nvGrpSpPr>
          <p:grpSpPr>
            <a:xfrm>
              <a:off x="4782898" y="1106265"/>
              <a:ext cx="1937799" cy="513236"/>
              <a:chOff x="4677992" y="1295829"/>
              <a:chExt cx="1745055" cy="560479"/>
            </a:xfrm>
          </p:grpSpPr>
          <p:sp>
            <p:nvSpPr>
              <p:cNvPr id="867" name="TextBox 172"/>
              <p:cNvSpPr txBox="1"/>
              <p:nvPr/>
            </p:nvSpPr>
            <p:spPr>
              <a:xfrm>
                <a:off x="4677992" y="1422449"/>
                <a:ext cx="1027290" cy="17446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 algn="r"/>
                <a:r>
                  <a:rPr lang="it-IT" sz="700" dirty="0" smtClean="0">
                    <a:solidFill>
                      <a:prstClr val="black"/>
                    </a:solidFill>
                  </a:rPr>
                  <a:t>VW</a:t>
                </a:r>
              </a:p>
              <a:p>
                <a:pPr algn="r"/>
                <a:r>
                  <a:rPr lang="it-IT" sz="700" dirty="0" err="1" smtClean="0">
                    <a:solidFill>
                      <a:prstClr val="black"/>
                    </a:solidFill>
                  </a:rPr>
                  <a:t>Budd</a:t>
                </a:r>
                <a:r>
                  <a:rPr lang="it-IT" sz="700" dirty="0" smtClean="0">
                    <a:solidFill>
                      <a:prstClr val="black"/>
                    </a:solidFill>
                  </a:rPr>
                  <a:t>-e</a:t>
                </a:r>
                <a:endParaRPr lang="it-IT" sz="700" dirty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868" name="Picture 292"/>
              <p:cNvPicPr>
                <a:picLocks noChangeAspect="1"/>
              </p:cNvPicPr>
              <p:nvPr/>
            </p:nvPicPr>
            <p:blipFill>
              <a:blip r:embed="rId9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75742" y="1295829"/>
                <a:ext cx="747305" cy="560479"/>
              </a:xfrm>
              <a:prstGeom prst="rect">
                <a:avLst/>
              </a:prstGeom>
            </p:spPr>
          </p:pic>
        </p:grpSp>
        <p:sp>
          <p:nvSpPr>
            <p:cNvPr id="283" name="Title 4"/>
            <p:cNvSpPr txBox="1">
              <a:spLocks/>
            </p:cNvSpPr>
            <p:nvPr/>
          </p:nvSpPr>
          <p:spPr>
            <a:xfrm>
              <a:off x="9876366" y="6154074"/>
              <a:ext cx="1387255" cy="598413"/>
            </a:xfrm>
            <a:prstGeom prst="rect">
              <a:avLst/>
            </a:prstGeom>
            <a:solidFill>
              <a:schemeClr val="bg1">
                <a:alpha val="56000"/>
              </a:schemeClr>
            </a:solidFill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50000"/>
                </a:lnSpc>
              </a:pPr>
              <a:r>
                <a:rPr lang="it-IT" sz="1000" b="1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nomy</a:t>
              </a:r>
              <a:r>
                <a:rPr lang="it-IT" sz="1000" b="1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[km]</a:t>
              </a:r>
              <a:endParaRPr lang="it-IT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4" name="Title 4"/>
            <p:cNvSpPr txBox="1">
              <a:spLocks/>
            </p:cNvSpPr>
            <p:nvPr/>
          </p:nvSpPr>
          <p:spPr>
            <a:xfrm>
              <a:off x="701295" y="254577"/>
              <a:ext cx="1467422" cy="598413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50000"/>
                </a:lnSpc>
              </a:pPr>
              <a:r>
                <a:rPr lang="it-IT" sz="1000" b="1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ype</a:t>
              </a:r>
              <a:r>
                <a:rPr lang="it-IT" sz="1000" b="1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f </a:t>
              </a:r>
              <a:r>
                <a:rPr lang="it-IT" sz="1000" b="1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hicle</a:t>
              </a:r>
              <a:endParaRPr lang="it-IT" sz="10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" name="Rettangolo 1"/>
            <p:cNvSpPr/>
            <p:nvPr/>
          </p:nvSpPr>
          <p:spPr>
            <a:xfrm>
              <a:off x="3037531" y="6406742"/>
              <a:ext cx="429047" cy="3351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80</a:t>
              </a:r>
              <a:endParaRPr lang="it-IT" sz="1200" dirty="0"/>
            </a:p>
          </p:txBody>
        </p:sp>
        <p:sp>
          <p:nvSpPr>
            <p:cNvPr id="287" name="Rettangolo 286"/>
            <p:cNvSpPr/>
            <p:nvPr/>
          </p:nvSpPr>
          <p:spPr>
            <a:xfrm>
              <a:off x="4059895" y="6410142"/>
              <a:ext cx="531848" cy="3351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160</a:t>
              </a:r>
              <a:endParaRPr lang="it-IT" sz="1200" dirty="0"/>
            </a:p>
          </p:txBody>
        </p:sp>
        <p:sp>
          <p:nvSpPr>
            <p:cNvPr id="288" name="Rettangolo 287"/>
            <p:cNvSpPr/>
            <p:nvPr/>
          </p:nvSpPr>
          <p:spPr>
            <a:xfrm>
              <a:off x="5158159" y="6409091"/>
              <a:ext cx="531848" cy="3351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40</a:t>
              </a:r>
              <a:endParaRPr lang="it-IT" sz="1200" dirty="0"/>
            </a:p>
          </p:txBody>
        </p:sp>
        <p:sp>
          <p:nvSpPr>
            <p:cNvPr id="289" name="Rettangolo 288"/>
            <p:cNvSpPr/>
            <p:nvPr/>
          </p:nvSpPr>
          <p:spPr>
            <a:xfrm>
              <a:off x="6179080" y="6401252"/>
              <a:ext cx="531848" cy="3351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20</a:t>
              </a:r>
              <a:endParaRPr lang="it-IT" sz="1200" dirty="0"/>
            </a:p>
          </p:txBody>
        </p:sp>
        <p:sp>
          <p:nvSpPr>
            <p:cNvPr id="290" name="Rettangolo 289"/>
            <p:cNvSpPr/>
            <p:nvPr/>
          </p:nvSpPr>
          <p:spPr>
            <a:xfrm>
              <a:off x="7216336" y="6395041"/>
              <a:ext cx="531848" cy="3351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400</a:t>
              </a:r>
              <a:endParaRPr lang="it-IT" sz="1200" dirty="0"/>
            </a:p>
          </p:txBody>
        </p:sp>
        <p:sp>
          <p:nvSpPr>
            <p:cNvPr id="291" name="Rettangolo 290"/>
            <p:cNvSpPr/>
            <p:nvPr/>
          </p:nvSpPr>
          <p:spPr>
            <a:xfrm>
              <a:off x="8284870" y="6395041"/>
              <a:ext cx="531848" cy="3351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480</a:t>
              </a:r>
              <a:endParaRPr lang="it-IT" sz="1200" dirty="0"/>
            </a:p>
          </p:txBody>
        </p:sp>
        <p:sp>
          <p:nvSpPr>
            <p:cNvPr id="292" name="Rettangolo 291"/>
            <p:cNvSpPr/>
            <p:nvPr/>
          </p:nvSpPr>
          <p:spPr>
            <a:xfrm>
              <a:off x="9361359" y="6401252"/>
              <a:ext cx="531848" cy="33516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560</a:t>
              </a:r>
              <a:endParaRPr lang="it-IT" sz="1200" dirty="0"/>
            </a:p>
          </p:txBody>
        </p:sp>
        <p:sp>
          <p:nvSpPr>
            <p:cNvPr id="293" name="Rettangolo 292"/>
            <p:cNvSpPr/>
            <p:nvPr/>
          </p:nvSpPr>
          <p:spPr>
            <a:xfrm>
              <a:off x="746064" y="895507"/>
              <a:ext cx="1424560" cy="3351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UV/</a:t>
              </a:r>
              <a:r>
                <a:rPr lang="it-IT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Trucks</a:t>
              </a:r>
              <a:endParaRPr lang="it-IT" sz="1200" dirty="0"/>
            </a:p>
          </p:txBody>
        </p:sp>
        <p:sp>
          <p:nvSpPr>
            <p:cNvPr id="294" name="Rettangolo 293"/>
            <p:cNvSpPr/>
            <p:nvPr/>
          </p:nvSpPr>
          <p:spPr>
            <a:xfrm>
              <a:off x="892994" y="1826794"/>
              <a:ext cx="1130699" cy="3351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ports Car</a:t>
              </a:r>
              <a:endParaRPr lang="it-IT" sz="1200" dirty="0"/>
            </a:p>
          </p:txBody>
        </p:sp>
        <p:sp>
          <p:nvSpPr>
            <p:cNvPr id="295" name="Rettangolo 294"/>
            <p:cNvSpPr/>
            <p:nvPr/>
          </p:nvSpPr>
          <p:spPr>
            <a:xfrm>
              <a:off x="892994" y="2821709"/>
              <a:ext cx="1130699" cy="3351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Sedan</a:t>
              </a:r>
              <a:endParaRPr lang="it-IT" sz="1200" dirty="0"/>
            </a:p>
          </p:txBody>
        </p:sp>
        <p:sp>
          <p:nvSpPr>
            <p:cNvPr id="296" name="Rettangolo 295"/>
            <p:cNvSpPr/>
            <p:nvPr/>
          </p:nvSpPr>
          <p:spPr>
            <a:xfrm>
              <a:off x="814414" y="3755644"/>
              <a:ext cx="1287860" cy="3351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Hatchbacks</a:t>
              </a:r>
              <a:endParaRPr lang="it-IT" sz="1200" dirty="0"/>
            </a:p>
          </p:txBody>
        </p:sp>
        <p:sp>
          <p:nvSpPr>
            <p:cNvPr id="297" name="Rettangolo 296"/>
            <p:cNvSpPr/>
            <p:nvPr/>
          </p:nvSpPr>
          <p:spPr>
            <a:xfrm>
              <a:off x="892994" y="4691349"/>
              <a:ext cx="1130699" cy="3351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Runabouts</a:t>
              </a:r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it-IT" sz="1200" dirty="0"/>
            </a:p>
          </p:txBody>
        </p:sp>
        <p:sp>
          <p:nvSpPr>
            <p:cNvPr id="298" name="Rettangolo 297"/>
            <p:cNvSpPr/>
            <p:nvPr/>
          </p:nvSpPr>
          <p:spPr>
            <a:xfrm>
              <a:off x="850137" y="5683335"/>
              <a:ext cx="1216414" cy="3351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mall </a:t>
              </a:r>
              <a:r>
                <a:rPr lang="it-IT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Vans</a:t>
              </a:r>
              <a:endParaRPr lang="it-IT" sz="120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242423" y="3346072"/>
            <a:ext cx="2612003" cy="1076168"/>
            <a:chOff x="8683294" y="3520762"/>
            <a:chExt cx="2612003" cy="1076168"/>
          </a:xfrm>
        </p:grpSpPr>
        <p:pic>
          <p:nvPicPr>
            <p:cNvPr id="307" name="Picture 63" descr="cn005_v1"/>
            <p:cNvPicPr>
              <a:picLocks noChangeArrowheads="1"/>
            </p:cNvPicPr>
            <p:nvPr/>
          </p:nvPicPr>
          <p:blipFill>
            <a:blip r:embed="rId9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683294" y="3664530"/>
              <a:ext cx="2482269" cy="93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8" name="Text Box 5"/>
            <p:cNvSpPr txBox="1">
              <a:spLocks noChangeArrowheads="1"/>
            </p:cNvSpPr>
            <p:nvPr/>
          </p:nvSpPr>
          <p:spPr bwMode="gray">
            <a:xfrm>
              <a:off x="8755302" y="3804842"/>
              <a:ext cx="2243619" cy="6463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r>
                <a:rPr lang="it-IT" sz="1200" b="1" dirty="0" smtClean="0"/>
                <a:t>“Volvo annuncia che tutti i suoi modelli di auto saranno elettrici o ibridi in 3 anni”</a:t>
              </a:r>
              <a:endParaRPr lang="it-IT" sz="1200" b="1" dirty="0"/>
            </a:p>
          </p:txBody>
        </p:sp>
        <p:pic>
          <p:nvPicPr>
            <p:cNvPr id="309" name="Picture 14" descr="Risultati immagini per volvo"/>
            <p:cNvPicPr>
              <a:picLocks noChangeAspect="1" noChangeArrowheads="1"/>
            </p:cNvPicPr>
            <p:nvPr/>
          </p:nvPicPr>
          <p:blipFill>
            <a:blip r:embed="rId9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34389" y="3520762"/>
              <a:ext cx="460908" cy="44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/>
          <p:cNvGrpSpPr/>
          <p:nvPr/>
        </p:nvGrpSpPr>
        <p:grpSpPr>
          <a:xfrm>
            <a:off x="8661371" y="4704207"/>
            <a:ext cx="2672636" cy="1117875"/>
            <a:chOff x="8944556" y="5064233"/>
            <a:chExt cx="2672636" cy="1117875"/>
          </a:xfrm>
        </p:grpSpPr>
        <p:pic>
          <p:nvPicPr>
            <p:cNvPr id="310" name="Picture 68" descr="cn005_v1"/>
            <p:cNvPicPr>
              <a:picLocks noChangeArrowheads="1"/>
            </p:cNvPicPr>
            <p:nvPr/>
          </p:nvPicPr>
          <p:blipFill>
            <a:blip r:embed="rId9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944556" y="5249708"/>
              <a:ext cx="2568175" cy="932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1" name="Text Box 5"/>
            <p:cNvSpPr txBox="1">
              <a:spLocks noChangeArrowheads="1"/>
            </p:cNvSpPr>
            <p:nvPr/>
          </p:nvSpPr>
          <p:spPr bwMode="gray">
            <a:xfrm>
              <a:off x="8976320" y="5374957"/>
              <a:ext cx="2416508" cy="6463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pPr fontAlgn="base"/>
              <a:r>
                <a:rPr lang="it-IT" sz="1200" b="1" dirty="0" smtClean="0"/>
                <a:t>“BMW vuole veicoli elettrici, varianti di plug-in per ogni singola BMW e modello di Mini”</a:t>
              </a:r>
              <a:endParaRPr lang="it-IT" sz="1200" b="1" dirty="0"/>
            </a:p>
          </p:txBody>
        </p:sp>
        <p:pic>
          <p:nvPicPr>
            <p:cNvPr id="312" name="Picture 16" descr="Risultati immagini per bmw"/>
            <p:cNvPicPr>
              <a:picLocks noChangeAspect="1" noChangeArrowheads="1"/>
            </p:cNvPicPr>
            <p:nvPr/>
          </p:nvPicPr>
          <p:blipFill>
            <a:blip r:embed="rId9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6284" y="5064233"/>
              <a:ext cx="460908" cy="460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8799785" y="1897741"/>
            <a:ext cx="2880232" cy="1166365"/>
            <a:chOff x="9240656" y="1897741"/>
            <a:chExt cx="2880232" cy="1166365"/>
          </a:xfrm>
        </p:grpSpPr>
        <p:pic>
          <p:nvPicPr>
            <p:cNvPr id="313" name="Picture 88" descr="cn005_v1"/>
            <p:cNvPicPr>
              <a:picLocks noChangeAspect="1" noChangeArrowheads="1"/>
            </p:cNvPicPr>
            <p:nvPr/>
          </p:nvPicPr>
          <p:blipFill>
            <a:blip r:embed="rId9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9240656" y="2132856"/>
              <a:ext cx="2568175" cy="931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4" name="Text Box 5"/>
            <p:cNvSpPr txBox="1">
              <a:spLocks noChangeArrowheads="1"/>
            </p:cNvSpPr>
            <p:nvPr/>
          </p:nvSpPr>
          <p:spPr bwMode="gray">
            <a:xfrm>
              <a:off x="9324390" y="2204864"/>
              <a:ext cx="2297815" cy="8309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  <p:txBody>
            <a:bodyPr wrap="square" lIns="45720" rIns="45720">
              <a:spAutoFit/>
            </a:bodyPr>
            <a:lstStyle/>
            <a:p>
              <a:r>
                <a:rPr lang="it-IT" sz="1200" b="1" dirty="0" smtClean="0"/>
                <a:t>“Daimler annuncia l'apertura di una nuova </a:t>
              </a:r>
              <a:r>
                <a:rPr lang="it-IT" sz="1200" b="1" dirty="0"/>
                <a:t>fabbrica da $740 </a:t>
              </a:r>
              <a:r>
                <a:rPr lang="it-IT" sz="1200" b="1" dirty="0" smtClean="0"/>
                <a:t>milioni </a:t>
              </a:r>
              <a:r>
                <a:rPr lang="it-IT" sz="1200" b="1" dirty="0"/>
                <a:t>per </a:t>
              </a:r>
              <a:r>
                <a:rPr lang="it-IT" sz="1200" b="1" dirty="0" smtClean="0"/>
                <a:t>la produzione di batterie in Cina”</a:t>
              </a:r>
              <a:endParaRPr lang="it-IT" sz="1200" b="1" dirty="0"/>
            </a:p>
          </p:txBody>
        </p:sp>
        <p:pic>
          <p:nvPicPr>
            <p:cNvPr id="315" name="Picture 88" descr="Risultati immagini per logo mercedes"/>
            <p:cNvPicPr>
              <a:picLocks noChangeAspect="1" noChangeArrowheads="1"/>
            </p:cNvPicPr>
            <p:nvPr/>
          </p:nvPicPr>
          <p:blipFill>
            <a:blip r:embed="rId10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297036" y="1897741"/>
              <a:ext cx="823852" cy="5747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19" name="Group 318"/>
          <p:cNvGrpSpPr/>
          <p:nvPr/>
        </p:nvGrpSpPr>
        <p:grpSpPr>
          <a:xfrm>
            <a:off x="103470" y="110701"/>
            <a:ext cx="604611" cy="401017"/>
            <a:chOff x="4180114" y="89807"/>
            <a:chExt cx="604611" cy="401017"/>
          </a:xfrm>
        </p:grpSpPr>
        <p:sp>
          <p:nvSpPr>
            <p:cNvPr id="320" name="Rectangle 319"/>
            <p:cNvSpPr/>
            <p:nvPr/>
          </p:nvSpPr>
          <p:spPr>
            <a:xfrm>
              <a:off x="4180114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321" name="Rectangle 320"/>
            <p:cNvSpPr/>
            <p:nvPr/>
          </p:nvSpPr>
          <p:spPr>
            <a:xfrm>
              <a:off x="4498975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322" name="Rectangle 321"/>
            <p:cNvSpPr/>
            <p:nvPr/>
          </p:nvSpPr>
          <p:spPr>
            <a:xfrm>
              <a:off x="4180114" y="311210"/>
              <a:ext cx="285750" cy="1796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323" name="Rectangle 322"/>
            <p:cNvSpPr/>
            <p:nvPr/>
          </p:nvSpPr>
          <p:spPr>
            <a:xfrm>
              <a:off x="4498975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324" name="TextBox 323"/>
            <p:cNvSpPr txBox="1"/>
            <p:nvPr/>
          </p:nvSpPr>
          <p:spPr>
            <a:xfrm>
              <a:off x="4224825" y="319374"/>
              <a:ext cx="18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633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61999" y="670120"/>
            <a:ext cx="8235043" cy="415245"/>
          </a:xfrm>
        </p:spPr>
        <p:txBody>
          <a:bodyPr/>
          <a:lstStyle/>
          <a:p>
            <a:r>
              <a:rPr lang="it-IT" b="1" dirty="0" smtClean="0"/>
              <a:t>La nostra “</a:t>
            </a:r>
            <a:r>
              <a:rPr lang="it-IT" b="1" dirty="0" err="1" smtClean="0"/>
              <a:t>vision</a:t>
            </a:r>
            <a:r>
              <a:rPr lang="it-IT" b="1" dirty="0" smtClean="0"/>
              <a:t>” in ambito mobilità elettrica</a:t>
            </a:r>
            <a:endParaRPr lang="it-IT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8215" y="1642243"/>
            <a:ext cx="4285212" cy="4751243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038595" y="4840690"/>
            <a:ext cx="5411187" cy="922372"/>
          </a:xfrm>
          <a:prstGeom prst="rect">
            <a:avLst/>
          </a:prstGeom>
          <a:solidFill>
            <a:schemeClr val="bg1"/>
          </a:solidFill>
          <a:ln w="44450">
            <a:gradFill flip="none" rotWithShape="1">
              <a:gsLst>
                <a:gs pos="76000">
                  <a:schemeClr val="accent1"/>
                </a:gs>
                <a:gs pos="33000">
                  <a:schemeClr val="accent6"/>
                </a:gs>
                <a:gs pos="0">
                  <a:schemeClr val="bg1">
                    <a:alpha val="0"/>
                  </a:schemeClr>
                </a:gs>
              </a:gsLst>
              <a:lin ang="4200000" scaled="0"/>
              <a:tileRect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it-IT" sz="1600" b="1" dirty="0" err="1" smtClean="0">
                <a:solidFill>
                  <a:schemeClr val="accent1"/>
                </a:solidFill>
              </a:rPr>
              <a:t>Partnerhips</a:t>
            </a:r>
            <a:r>
              <a:rPr lang="it-IT" sz="1600" b="1" dirty="0" smtClean="0">
                <a:solidFill>
                  <a:schemeClr val="accent1"/>
                </a:solidFill>
              </a:rPr>
              <a:t> con </a:t>
            </a:r>
            <a:r>
              <a:rPr lang="it-IT" sz="1600" b="1" dirty="0">
                <a:solidFill>
                  <a:schemeClr val="accent1"/>
                </a:solidFill>
              </a:rPr>
              <a:t>aziende automobilistiche e </a:t>
            </a:r>
            <a:r>
              <a:rPr lang="it-IT" sz="1600" b="1" dirty="0" err="1">
                <a:solidFill>
                  <a:schemeClr val="accent1"/>
                </a:solidFill>
              </a:rPr>
              <a:t>stakeholders</a:t>
            </a:r>
            <a:r>
              <a:rPr lang="it-IT" sz="1600" b="1" dirty="0">
                <a:solidFill>
                  <a:schemeClr val="accent1"/>
                </a:solidFill>
              </a:rPr>
              <a:t> chiave </a:t>
            </a:r>
            <a:r>
              <a:rPr lang="it-IT" sz="1600" b="1" dirty="0" smtClean="0">
                <a:solidFill>
                  <a:schemeClr val="accent1"/>
                </a:solidFill>
              </a:rPr>
              <a:t>per promuovere servizi </a:t>
            </a:r>
          </a:p>
          <a:p>
            <a:pPr algn="ctr">
              <a:lnSpc>
                <a:spcPct val="110000"/>
              </a:lnSpc>
            </a:pPr>
            <a:r>
              <a:rPr lang="it-IT" sz="1600" b="1" dirty="0" smtClean="0">
                <a:solidFill>
                  <a:schemeClr val="accent1"/>
                </a:solidFill>
              </a:rPr>
              <a:t>integrati di mobilità elettrica</a:t>
            </a:r>
            <a:endParaRPr lang="it-IT" sz="1600" b="1" dirty="0">
              <a:solidFill>
                <a:schemeClr val="accent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38595" y="3527731"/>
            <a:ext cx="5411187" cy="922372"/>
          </a:xfrm>
          <a:prstGeom prst="rect">
            <a:avLst/>
          </a:prstGeom>
          <a:solidFill>
            <a:schemeClr val="bg1"/>
          </a:solidFill>
          <a:ln w="44450">
            <a:gradFill flip="none" rotWithShape="1">
              <a:gsLst>
                <a:gs pos="28000">
                  <a:schemeClr val="accent1"/>
                </a:gs>
                <a:gs pos="67000">
                  <a:schemeClr val="accent6"/>
                </a:gs>
                <a:gs pos="100000">
                  <a:schemeClr val="bg1">
                    <a:alpha val="0"/>
                  </a:schemeClr>
                </a:gs>
              </a:gsLst>
              <a:lin ang="4200000" scaled="0"/>
              <a:tileRect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it-IT" sz="1600" b="1" dirty="0">
                <a:solidFill>
                  <a:schemeClr val="accent1"/>
                </a:solidFill>
              </a:rPr>
              <a:t>Mobilità elettrica come opportunità di sviluppo industriale per il Sistema Itali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71248" y="2208522"/>
            <a:ext cx="5411187" cy="922372"/>
          </a:xfrm>
          <a:prstGeom prst="rect">
            <a:avLst/>
          </a:prstGeom>
          <a:solidFill>
            <a:schemeClr val="bg1"/>
          </a:solidFill>
          <a:ln w="44450">
            <a:gradFill flip="none" rotWithShape="1">
              <a:gsLst>
                <a:gs pos="76000">
                  <a:schemeClr val="accent1"/>
                </a:gs>
                <a:gs pos="33000">
                  <a:schemeClr val="accent6"/>
                </a:gs>
                <a:gs pos="0">
                  <a:schemeClr val="bg1">
                    <a:alpha val="0"/>
                  </a:schemeClr>
                </a:gs>
              </a:gsLst>
              <a:lin ang="4200000" scaled="0"/>
              <a:tileRect/>
            </a:gra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</a:pPr>
            <a:r>
              <a:rPr lang="it-IT" sz="1600" b="1" dirty="0">
                <a:solidFill>
                  <a:schemeClr val="accent1"/>
                </a:solidFill>
              </a:rPr>
              <a:t>Enel X first </a:t>
            </a:r>
            <a:r>
              <a:rPr lang="it-IT" sz="1600" b="1" dirty="0" err="1">
                <a:solidFill>
                  <a:schemeClr val="accent1"/>
                </a:solidFill>
              </a:rPr>
              <a:t>mover</a:t>
            </a:r>
            <a:r>
              <a:rPr lang="it-IT" sz="1600" b="1" dirty="0">
                <a:solidFill>
                  <a:schemeClr val="accent1"/>
                </a:solidFill>
              </a:rPr>
              <a:t> in Italia della e-</a:t>
            </a:r>
            <a:r>
              <a:rPr lang="it-IT" sz="1600" b="1" dirty="0" err="1">
                <a:solidFill>
                  <a:schemeClr val="accent1"/>
                </a:solidFill>
              </a:rPr>
              <a:t>Mobility</a:t>
            </a:r>
            <a:r>
              <a:rPr lang="it-IT" sz="1600" b="1" dirty="0">
                <a:solidFill>
                  <a:schemeClr val="accent1"/>
                </a:solidFill>
              </a:rPr>
              <a:t> </a:t>
            </a:r>
          </a:p>
          <a:p>
            <a:pPr algn="ctr">
              <a:lnSpc>
                <a:spcPct val="110000"/>
              </a:lnSpc>
            </a:pPr>
            <a:r>
              <a:rPr lang="it-IT" sz="1600" b="1" dirty="0" err="1">
                <a:solidFill>
                  <a:schemeClr val="accent1"/>
                </a:solidFill>
              </a:rPr>
              <a:t>Revolution</a:t>
            </a:r>
            <a:endParaRPr lang="it-IT" sz="1600" b="1" dirty="0">
              <a:solidFill>
                <a:schemeClr val="accent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03470" y="110701"/>
            <a:ext cx="604611" cy="401017"/>
            <a:chOff x="4180114" y="89807"/>
            <a:chExt cx="604611" cy="401017"/>
          </a:xfrm>
        </p:grpSpPr>
        <p:sp>
          <p:nvSpPr>
            <p:cNvPr id="11" name="Rectangle 10"/>
            <p:cNvSpPr/>
            <p:nvPr/>
          </p:nvSpPr>
          <p:spPr>
            <a:xfrm>
              <a:off x="4180114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498975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180114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498975" y="311210"/>
              <a:ext cx="285750" cy="1796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535066" y="327538"/>
              <a:ext cx="18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8388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ggetto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olo 1"/>
          <p:cNvSpPr txBox="1">
            <a:spLocks/>
          </p:cNvSpPr>
          <p:nvPr/>
        </p:nvSpPr>
        <p:spPr>
          <a:xfrm>
            <a:off x="762000" y="670121"/>
            <a:ext cx="924701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 smtClean="0"/>
              <a:t>La </a:t>
            </a:r>
            <a:r>
              <a:rPr lang="it-IT" dirty="0" err="1" smtClean="0"/>
              <a:t>customer</a:t>
            </a:r>
            <a:r>
              <a:rPr lang="it-IT" dirty="0" smtClean="0"/>
              <a:t> </a:t>
            </a:r>
            <a:r>
              <a:rPr lang="it-IT" dirty="0" err="1" smtClean="0"/>
              <a:t>journey</a:t>
            </a:r>
            <a:r>
              <a:rPr lang="it-IT" dirty="0" smtClean="0"/>
              <a:t> del </a:t>
            </a:r>
            <a:r>
              <a:rPr lang="it-IT" dirty="0"/>
              <a:t>cliente </a:t>
            </a:r>
            <a:r>
              <a:rPr lang="it-IT" dirty="0" smtClean="0"/>
              <a:t>EV</a:t>
            </a:r>
            <a:endParaRPr lang="it-IT" dirty="0"/>
          </a:p>
        </p:txBody>
      </p:sp>
      <p:pic>
        <p:nvPicPr>
          <p:cNvPr id="30" name="Content Placeholder 5"/>
          <p:cNvPicPr>
            <a:picLocks noGrp="1" noChangeAspect="1"/>
          </p:cNvPicPr>
          <p:nvPr>
            <p:ph idx="1"/>
          </p:nvPr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542083" y="1851071"/>
            <a:ext cx="9541934" cy="4430183"/>
          </a:xfrm>
          <a:prstGeom prst="rect">
            <a:avLst/>
          </a:prstGeom>
        </p:spPr>
      </p:pic>
      <p:sp>
        <p:nvSpPr>
          <p:cNvPr id="31" name="Teardrop 30"/>
          <p:cNvSpPr/>
          <p:nvPr/>
        </p:nvSpPr>
        <p:spPr>
          <a:xfrm rot="8014129">
            <a:off x="1691837" y="4655959"/>
            <a:ext cx="440715" cy="440715"/>
          </a:xfrm>
          <a:prstGeom prst="teardrop">
            <a:avLst>
              <a:gd name="adj" fmla="val 136192"/>
            </a:avLst>
          </a:prstGeom>
          <a:solidFill>
            <a:srgbClr val="B6AF9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 dirty="0" smtClean="0">
              <a:solidFill>
                <a:schemeClr val="tx1"/>
              </a:solidFill>
            </a:endParaRPr>
          </a:p>
        </p:txBody>
      </p:sp>
      <p:sp>
        <p:nvSpPr>
          <p:cNvPr id="32" name="Oval 2"/>
          <p:cNvSpPr>
            <a:spLocks noChangeArrowheads="1"/>
          </p:cNvSpPr>
          <p:nvPr/>
        </p:nvSpPr>
        <p:spPr bwMode="gray">
          <a:xfrm>
            <a:off x="1739211" y="4703607"/>
            <a:ext cx="342778" cy="34277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200" b="1" dirty="0" smtClean="0">
                <a:solidFill>
                  <a:schemeClr val="bg1"/>
                </a:solidFill>
              </a:rPr>
              <a:t>1</a:t>
            </a:r>
            <a:endParaRPr lang="it-IT" sz="1200" b="1" dirty="0">
              <a:solidFill>
                <a:schemeClr val="bg1"/>
              </a:solidFill>
            </a:endParaRPr>
          </a:p>
        </p:txBody>
      </p:sp>
      <p:sp>
        <p:nvSpPr>
          <p:cNvPr id="33" name="Teardrop 32"/>
          <p:cNvSpPr/>
          <p:nvPr/>
        </p:nvSpPr>
        <p:spPr>
          <a:xfrm rot="8014129">
            <a:off x="4162275" y="4598476"/>
            <a:ext cx="440715" cy="440715"/>
          </a:xfrm>
          <a:prstGeom prst="teardrop">
            <a:avLst>
              <a:gd name="adj" fmla="val 136192"/>
            </a:avLst>
          </a:prstGeom>
          <a:solidFill>
            <a:srgbClr val="B6AF9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 dirty="0" smtClean="0">
              <a:solidFill>
                <a:schemeClr val="tx1"/>
              </a:solidFill>
            </a:endParaRPr>
          </a:p>
        </p:txBody>
      </p:sp>
      <p:sp>
        <p:nvSpPr>
          <p:cNvPr id="34" name="Oval 2"/>
          <p:cNvSpPr>
            <a:spLocks noChangeArrowheads="1"/>
          </p:cNvSpPr>
          <p:nvPr/>
        </p:nvSpPr>
        <p:spPr bwMode="gray">
          <a:xfrm>
            <a:off x="4209649" y="4646124"/>
            <a:ext cx="342778" cy="34277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200" b="1" dirty="0" smtClean="0">
                <a:solidFill>
                  <a:schemeClr val="bg1"/>
                </a:solidFill>
              </a:rPr>
              <a:t>2</a:t>
            </a:r>
            <a:endParaRPr lang="it-IT" sz="1200" b="1" dirty="0">
              <a:solidFill>
                <a:schemeClr val="bg1"/>
              </a:solidFill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3281030" y="5408481"/>
            <a:ext cx="1333862" cy="1124994"/>
            <a:chOff x="3427389" y="2789165"/>
            <a:chExt cx="1613972" cy="1361242"/>
          </a:xfrm>
        </p:grpSpPr>
        <p:pic>
          <p:nvPicPr>
            <p:cNvPr id="36" name="Immagine 8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427389" y="2789165"/>
              <a:ext cx="410052" cy="410052"/>
            </a:xfrm>
            <a:prstGeom prst="rect">
              <a:avLst/>
            </a:prstGeom>
          </p:spPr>
        </p:pic>
        <p:pic>
          <p:nvPicPr>
            <p:cNvPr id="37" name="Immagine 10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522055" y="3380725"/>
              <a:ext cx="477202" cy="477202"/>
            </a:xfrm>
            <a:prstGeom prst="rect">
              <a:avLst/>
            </a:prstGeom>
          </p:spPr>
        </p:pic>
        <p:pic>
          <p:nvPicPr>
            <p:cNvPr id="38" name="Immagine 48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946549" y="3146545"/>
              <a:ext cx="477202" cy="477202"/>
            </a:xfrm>
            <a:prstGeom prst="rect">
              <a:avLst/>
            </a:prstGeom>
          </p:spPr>
        </p:pic>
        <p:pic>
          <p:nvPicPr>
            <p:cNvPr id="39" name="Immagine 49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999257" y="3673205"/>
              <a:ext cx="477202" cy="477202"/>
            </a:xfrm>
            <a:prstGeom prst="rect">
              <a:avLst/>
            </a:prstGeom>
          </p:spPr>
        </p:pic>
        <p:pic>
          <p:nvPicPr>
            <p:cNvPr id="40" name="Immagine 50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483648" y="3059093"/>
              <a:ext cx="477202" cy="477202"/>
            </a:xfrm>
            <a:prstGeom prst="rect">
              <a:avLst/>
            </a:prstGeom>
          </p:spPr>
        </p:pic>
        <p:pic>
          <p:nvPicPr>
            <p:cNvPr id="41" name="Immagine 51"/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564159" y="3604776"/>
              <a:ext cx="477202" cy="477202"/>
            </a:xfrm>
            <a:prstGeom prst="rect">
              <a:avLst/>
            </a:prstGeom>
          </p:spPr>
        </p:pic>
      </p:grpSp>
      <p:sp>
        <p:nvSpPr>
          <p:cNvPr id="43" name="Teardrop 42"/>
          <p:cNvSpPr/>
          <p:nvPr/>
        </p:nvSpPr>
        <p:spPr>
          <a:xfrm rot="8014129">
            <a:off x="3931720" y="2994536"/>
            <a:ext cx="440715" cy="440715"/>
          </a:xfrm>
          <a:prstGeom prst="teardrop">
            <a:avLst>
              <a:gd name="adj" fmla="val 136192"/>
            </a:avLst>
          </a:prstGeom>
          <a:solidFill>
            <a:srgbClr val="B6AF9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 dirty="0" smtClean="0">
              <a:solidFill>
                <a:schemeClr val="tx1"/>
              </a:solidFill>
            </a:endParaRPr>
          </a:p>
        </p:txBody>
      </p:sp>
      <p:sp>
        <p:nvSpPr>
          <p:cNvPr id="44" name="Oval 2"/>
          <p:cNvSpPr>
            <a:spLocks noChangeArrowheads="1"/>
          </p:cNvSpPr>
          <p:nvPr/>
        </p:nvSpPr>
        <p:spPr bwMode="gray">
          <a:xfrm>
            <a:off x="3979094" y="3042184"/>
            <a:ext cx="342778" cy="34277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200" b="1" dirty="0" smtClean="0">
                <a:solidFill>
                  <a:schemeClr val="bg1"/>
                </a:solidFill>
              </a:rPr>
              <a:t>3</a:t>
            </a:r>
            <a:endParaRPr lang="it-IT" sz="1200" b="1" dirty="0">
              <a:solidFill>
                <a:schemeClr val="bg1"/>
              </a:solidFill>
            </a:endParaRPr>
          </a:p>
        </p:txBody>
      </p:sp>
      <p:grpSp>
        <p:nvGrpSpPr>
          <p:cNvPr id="45" name="Group 44"/>
          <p:cNvGrpSpPr/>
          <p:nvPr/>
        </p:nvGrpSpPr>
        <p:grpSpPr>
          <a:xfrm>
            <a:off x="2978786" y="1868703"/>
            <a:ext cx="943373" cy="979098"/>
            <a:chOff x="5685948" y="2743200"/>
            <a:chExt cx="1153981" cy="1197682"/>
          </a:xfrm>
        </p:grpSpPr>
        <p:pic>
          <p:nvPicPr>
            <p:cNvPr id="46" name="Immagine 24"/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030757" y="3131710"/>
              <a:ext cx="809172" cy="809172"/>
            </a:xfrm>
            <a:prstGeom prst="rect">
              <a:avLst/>
            </a:prstGeom>
          </p:spPr>
        </p:pic>
        <p:pic>
          <p:nvPicPr>
            <p:cNvPr id="47" name="Immagine 43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685948" y="2743200"/>
              <a:ext cx="410052" cy="410052"/>
            </a:xfrm>
            <a:prstGeom prst="rect">
              <a:avLst/>
            </a:prstGeom>
          </p:spPr>
        </p:pic>
      </p:grpSp>
      <p:sp>
        <p:nvSpPr>
          <p:cNvPr id="48" name="Teardrop 47"/>
          <p:cNvSpPr/>
          <p:nvPr/>
        </p:nvSpPr>
        <p:spPr>
          <a:xfrm rot="8014129">
            <a:off x="6634394" y="3458471"/>
            <a:ext cx="440715" cy="440715"/>
          </a:xfrm>
          <a:prstGeom prst="teardrop">
            <a:avLst>
              <a:gd name="adj" fmla="val 136192"/>
            </a:avLst>
          </a:prstGeom>
          <a:solidFill>
            <a:srgbClr val="B6AF9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 dirty="0" smtClean="0">
              <a:solidFill>
                <a:schemeClr val="tx1"/>
              </a:solidFill>
            </a:endParaRPr>
          </a:p>
        </p:txBody>
      </p:sp>
      <p:sp>
        <p:nvSpPr>
          <p:cNvPr id="49" name="Oval 2"/>
          <p:cNvSpPr>
            <a:spLocks noChangeArrowheads="1"/>
          </p:cNvSpPr>
          <p:nvPr/>
        </p:nvSpPr>
        <p:spPr bwMode="gray">
          <a:xfrm>
            <a:off x="6681768" y="3506119"/>
            <a:ext cx="342778" cy="34277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200" b="1" dirty="0" smtClean="0">
                <a:solidFill>
                  <a:schemeClr val="bg1"/>
                </a:solidFill>
              </a:rPr>
              <a:t>4</a:t>
            </a:r>
            <a:endParaRPr lang="it-IT" sz="1200" b="1" dirty="0">
              <a:solidFill>
                <a:schemeClr val="bg1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6592375" y="4331739"/>
            <a:ext cx="1030150" cy="972634"/>
            <a:chOff x="7675079" y="2755871"/>
            <a:chExt cx="1418175" cy="1338994"/>
          </a:xfrm>
        </p:grpSpPr>
        <p:pic>
          <p:nvPicPr>
            <p:cNvPr id="51" name="Immagine 27"/>
            <p:cNvPicPr>
              <a:picLocks noChangeAspect="1"/>
            </p:cNvPicPr>
            <p:nvPr/>
          </p:nvPicPr>
          <p:blipFill rotWithShape="1"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3416" t="633" r="6856" b="-633"/>
            <a:stretch/>
          </p:blipFill>
          <p:spPr>
            <a:xfrm>
              <a:off x="7870572" y="2959314"/>
              <a:ext cx="1222682" cy="1135551"/>
            </a:xfrm>
            <a:prstGeom prst="rect">
              <a:avLst/>
            </a:prstGeom>
          </p:spPr>
        </p:pic>
        <p:pic>
          <p:nvPicPr>
            <p:cNvPr id="52" name="Immagine 39"/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675079" y="2805303"/>
              <a:ext cx="337470" cy="337470"/>
            </a:xfrm>
            <a:prstGeom prst="rect">
              <a:avLst/>
            </a:prstGeom>
          </p:spPr>
        </p:pic>
        <p:pic>
          <p:nvPicPr>
            <p:cNvPr id="53" name="Picture 52" descr="Immagine correlata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2663" y="2755871"/>
              <a:ext cx="408622" cy="4086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oup 53"/>
          <p:cNvGrpSpPr/>
          <p:nvPr/>
        </p:nvGrpSpPr>
        <p:grpSpPr>
          <a:xfrm>
            <a:off x="7314665" y="1628425"/>
            <a:ext cx="972453" cy="777085"/>
            <a:chOff x="9899650" y="2819874"/>
            <a:chExt cx="1337308" cy="1175504"/>
          </a:xfrm>
        </p:grpSpPr>
        <p:pic>
          <p:nvPicPr>
            <p:cNvPr id="55" name="Immagine 28"/>
            <p:cNvPicPr>
              <a:picLocks noChangeAspect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215338" y="3077213"/>
              <a:ext cx="1021620" cy="918165"/>
            </a:xfrm>
            <a:prstGeom prst="rect">
              <a:avLst/>
            </a:prstGeom>
          </p:spPr>
        </p:pic>
        <p:pic>
          <p:nvPicPr>
            <p:cNvPr id="56" name="Picture 11" descr="Risultati immagini per moon icon"/>
            <p:cNvPicPr>
              <a:picLocks noChangeAspect="1" noChangeArrowheads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99650" y="2819874"/>
              <a:ext cx="396779" cy="3967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7" name="Teardrop 56"/>
          <p:cNvSpPr/>
          <p:nvPr/>
        </p:nvSpPr>
        <p:spPr>
          <a:xfrm rot="8014129">
            <a:off x="8409915" y="2007909"/>
            <a:ext cx="440715" cy="440715"/>
          </a:xfrm>
          <a:prstGeom prst="teardrop">
            <a:avLst>
              <a:gd name="adj" fmla="val 136192"/>
            </a:avLst>
          </a:prstGeom>
          <a:solidFill>
            <a:srgbClr val="B6AF99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 dirty="0" smtClean="0">
              <a:solidFill>
                <a:schemeClr val="tx1"/>
              </a:solidFill>
            </a:endParaRPr>
          </a:p>
        </p:txBody>
      </p:sp>
      <p:sp>
        <p:nvSpPr>
          <p:cNvPr id="58" name="Oval 2"/>
          <p:cNvSpPr>
            <a:spLocks noChangeArrowheads="1"/>
          </p:cNvSpPr>
          <p:nvPr/>
        </p:nvSpPr>
        <p:spPr bwMode="gray">
          <a:xfrm>
            <a:off x="8457289" y="2055557"/>
            <a:ext cx="342778" cy="342778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sz="1200" b="1" dirty="0" smtClean="0">
                <a:solidFill>
                  <a:schemeClr val="bg1"/>
                </a:solidFill>
              </a:rPr>
              <a:t>5</a:t>
            </a:r>
            <a:endParaRPr lang="it-IT" sz="1200" b="1" dirty="0">
              <a:solidFill>
                <a:schemeClr val="bg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1251586" y="3813936"/>
            <a:ext cx="2073506" cy="702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200"/>
              </a:spcAft>
              <a:defRPr/>
            </a:pPr>
            <a:r>
              <a:rPr lang="it-IT" sz="1400" b="1" dirty="0" smtClean="0">
                <a:solidFill>
                  <a:schemeClr val="accent1"/>
                </a:solidFill>
              </a:rPr>
              <a:t>Casa</a:t>
            </a:r>
            <a:endParaRPr lang="it-IT" sz="1600" dirty="0" smtClean="0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it-IT" sz="1200" i="1" dirty="0" smtClean="0">
                <a:solidFill>
                  <a:prstClr val="black"/>
                </a:solidFill>
              </a:rPr>
              <a:t>Il cliente ricarica la sua EV, dalla </a:t>
            </a:r>
            <a:r>
              <a:rPr lang="it-IT" sz="1200" i="1" dirty="0" err="1" smtClean="0">
                <a:solidFill>
                  <a:prstClr val="black"/>
                </a:solidFill>
              </a:rPr>
              <a:t>wall</a:t>
            </a:r>
            <a:r>
              <a:rPr lang="it-IT" sz="1200" i="1" dirty="0" smtClean="0">
                <a:solidFill>
                  <a:prstClr val="black"/>
                </a:solidFill>
              </a:rPr>
              <a:t>-box del garage</a:t>
            </a:r>
            <a:endParaRPr lang="it-IT" sz="1200" i="1" dirty="0">
              <a:solidFill>
                <a:prstClr val="black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573021" y="5603656"/>
            <a:ext cx="2430643" cy="887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200"/>
              </a:spcAft>
              <a:defRPr/>
            </a:pPr>
            <a:r>
              <a:rPr lang="it-IT" sz="1400" b="1" dirty="0" smtClean="0">
                <a:solidFill>
                  <a:schemeClr val="accent1"/>
                </a:solidFill>
              </a:rPr>
              <a:t>Ufficio </a:t>
            </a:r>
          </a:p>
          <a:p>
            <a:pPr algn="ctr">
              <a:defRPr/>
            </a:pPr>
            <a:r>
              <a:rPr lang="it-IT" sz="1200" i="1" dirty="0" smtClean="0">
                <a:solidFill>
                  <a:prstClr val="black"/>
                </a:solidFill>
              </a:rPr>
              <a:t>Il cliente arriva in ufficio e prende l’auto della flotta aziendale per svolgere il proprio lavoro</a:t>
            </a:r>
            <a:endParaRPr lang="it-IT" sz="1200" i="1" dirty="0">
              <a:solidFill>
                <a:prstClr val="black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891219" y="2060527"/>
            <a:ext cx="2362000" cy="887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200"/>
              </a:spcAft>
              <a:defRPr/>
            </a:pPr>
            <a:r>
              <a:rPr lang="it-IT" sz="1400" b="1" dirty="0" smtClean="0">
                <a:solidFill>
                  <a:schemeClr val="accent1"/>
                </a:solidFill>
              </a:rPr>
              <a:t>Supermercato</a:t>
            </a:r>
          </a:p>
          <a:p>
            <a:pPr algn="ctr">
              <a:defRPr/>
            </a:pPr>
            <a:r>
              <a:rPr lang="it-IT" sz="1200" i="1" dirty="0" smtClean="0"/>
              <a:t>Il cliente dopo la giornata di lavoro va a fare la spesa e mette in carica la propria auto</a:t>
            </a:r>
            <a:endParaRPr lang="it-IT" sz="1200" i="1" dirty="0"/>
          </a:p>
        </p:txBody>
      </p:sp>
      <p:sp>
        <p:nvSpPr>
          <p:cNvPr id="62" name="Rectangle 61"/>
          <p:cNvSpPr/>
          <p:nvPr/>
        </p:nvSpPr>
        <p:spPr>
          <a:xfrm>
            <a:off x="7403284" y="4447728"/>
            <a:ext cx="2073506" cy="887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200"/>
              </a:spcAft>
              <a:defRPr/>
            </a:pPr>
            <a:r>
              <a:rPr lang="it-IT" sz="1400" b="1" dirty="0" smtClean="0">
                <a:solidFill>
                  <a:schemeClr val="accent1"/>
                </a:solidFill>
              </a:rPr>
              <a:t>Palestra</a:t>
            </a:r>
          </a:p>
          <a:p>
            <a:pPr algn="ctr">
              <a:defRPr/>
            </a:pPr>
            <a:r>
              <a:rPr lang="it-IT" sz="1200" i="1" dirty="0" smtClean="0">
                <a:solidFill>
                  <a:prstClr val="black"/>
                </a:solidFill>
              </a:rPr>
              <a:t>Il cliente va in palestra e mentre fa lezione ricarica la propria auto</a:t>
            </a:r>
            <a:endParaRPr lang="it-IT" sz="1200" i="1" dirty="0">
              <a:solidFill>
                <a:prstClr val="black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8763147" y="1562793"/>
            <a:ext cx="3005763" cy="887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200"/>
              </a:spcAft>
              <a:defRPr/>
            </a:pPr>
            <a:r>
              <a:rPr lang="it-IT" sz="1400" b="1" dirty="0" smtClean="0">
                <a:solidFill>
                  <a:schemeClr val="accent1"/>
                </a:solidFill>
              </a:rPr>
              <a:t>Inter-modalità</a:t>
            </a:r>
          </a:p>
          <a:p>
            <a:pPr algn="ctr">
              <a:defRPr/>
            </a:pPr>
            <a:r>
              <a:rPr lang="it-IT" sz="1200" i="1" dirty="0" smtClean="0">
                <a:solidFill>
                  <a:prstClr val="black"/>
                </a:solidFill>
              </a:rPr>
              <a:t>Il cliente la sera lascia l’auto in ricarica nel parcheggio della stazione per prendere il treno</a:t>
            </a:r>
            <a:endParaRPr lang="it-IT" sz="1200" i="1" dirty="0">
              <a:solidFill>
                <a:prstClr val="black"/>
              </a:solidFill>
            </a:endParaRPr>
          </a:p>
        </p:txBody>
      </p:sp>
      <p:pic>
        <p:nvPicPr>
          <p:cNvPr id="64" name="Immagine 23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57377" y="3785057"/>
            <a:ext cx="678587" cy="678587"/>
          </a:xfrm>
          <a:prstGeom prst="rect">
            <a:avLst/>
          </a:prstGeom>
        </p:spPr>
      </p:pic>
      <p:pic>
        <p:nvPicPr>
          <p:cNvPr id="65" name="Picture 11" descr="Risultati immagini per moon icon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01" y="3636004"/>
            <a:ext cx="298106" cy="298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6" name="Group 65"/>
          <p:cNvGrpSpPr/>
          <p:nvPr/>
        </p:nvGrpSpPr>
        <p:grpSpPr>
          <a:xfrm>
            <a:off x="103470" y="110701"/>
            <a:ext cx="604611" cy="401017"/>
            <a:chOff x="4180114" y="89807"/>
            <a:chExt cx="604611" cy="401017"/>
          </a:xfrm>
        </p:grpSpPr>
        <p:sp>
          <p:nvSpPr>
            <p:cNvPr id="67" name="Rectangle 66"/>
            <p:cNvSpPr/>
            <p:nvPr/>
          </p:nvSpPr>
          <p:spPr>
            <a:xfrm>
              <a:off x="4180114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4498975" y="89807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4180114" y="311210"/>
              <a:ext cx="285750" cy="17961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4498975" y="311210"/>
              <a:ext cx="285750" cy="1796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 smtClean="0"/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4535066" y="327538"/>
              <a:ext cx="18000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000" b="1" dirty="0" smtClean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33127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14659000000000022013E+00&quot;&gt;&lt;m_msothmcolidx val=&quot;0&quot;/&gt;&lt;m_rgb r=&quot;86&quot; g=&quot;5A&quot; b=&quot;A3&quot;/&gt;&lt;m_nBrightness val=&quot;0&quot;/&gt;&lt;/elem&gt;&lt;elem m_fUsage=&quot;1.72900000000000009237E+00&quot;&gt;&lt;m_msothmcolidx val=&quot;0&quot;/&gt;&lt;m_rgb r=&quot;1A&quot; g=&quot;95&quot; b=&quot;C3&quot;/&gt;&lt;m_nBrightness val=&quot;0&quot;/&gt;&lt;/elem&gt;&lt;elem m_fUsage=&quot;1.39715838900000011158E+00&quot;&gt;&lt;m_msothmcolidx val=&quot;0&quot;/&gt;&lt;m_rgb r=&quot;46&quot; g=&quot;1E&quot; b=&quot;7D&quot;/&gt;&lt;m_nBrightness val=&quot;0&quot;/&gt;&lt;/elem&gt;&lt;elem m_fUsage=&quot;8.10000000000000053291E-01&quot;&gt;&lt;m_msothmcolidx val=&quot;0&quot;/&gt;&lt;m_rgb r=&quot;29&quot; g=&quot;2C&quot; b=&quot;6B&quot;/&gt;&lt;m_nBrightness val=&quot;0&quot;/&gt;&lt;/elem&gt;&lt;elem m_fUsage=&quot;4.30467210000000155556E-01&quot;&gt;&lt;m_msothmcolidx val=&quot;0&quot;/&gt;&lt;m_rgb r=&quot;CB&quot; g=&quot;CB&quot; b=&quot;FF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.HIY7ESJedi3wJQm4g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i.UQTrT2m7UXUtUxlB2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8j51unSjO1dt7TB9hVN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TcadHyQwuH6Qo4sSrbQ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zUtiB0Tp2JAAm8jm8kO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7GwT7tR3ScJXnwWI_D2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FSDCW9TJOx_Jdh5Hh9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HoTq2LS1qqla0O78BjK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SqnBlaQ4SLKFEAOVpt.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.1bKLCS_Kl82jQp_SXR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BzPFaUS4W_9WhSIMWGX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bXFcIPS5uM7H4DCMQqD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f1F_FiR4aT4Bv2guGi2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i7n.tER560hBFuzcoz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Gc2lC0TKyqyMUCsZDVH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mlbdNFRU6Tr7nPqbPA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1Gh_AwRCeCBSG6_M7u2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WQVWm7TdaZpSPYL6YMB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8f4f6iTvqRCoXPLxMpY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k5WN9ITgmdaWbLJHOqV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AjYFBdS5CvA4m35FG3u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kMEDb_TS6vajh4C9eLk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tkOH8nRrGEcSIZTsVf5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5zvFztSMCuGqivZ4bQ9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3yXPYNTOqkcXWwjiuBZ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d.baE_TkSc2MU5rrOhU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cVjsF3RhK6A76ia5j.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rKoXlwQ06pdgwet7nf8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7alVZfQviZQF7MSmUax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ghu6URcGGmrIwXLZzV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zZUZn5SLeWFbyAYv1MN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6nsbdkTom68aAwbmfCW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Qx2bZ9SvOAgnwsQjUo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FKJpjsTrivWJGI8MQc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cDtlRyRACKzy.sU2Ua_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5aUgbIQoStxiK6MSKm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09R.8zQLKHlHhD2jkIM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PFTfJsRAip.hIaWYvz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nanIA.R_Wy6AI8R68B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oRNtlsRsO_ZI51Z6hH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Tsz.AfQVKeVN0zMZLw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8kuYVZTvC8nCftM0de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w4CLQkTRiMcIvsyWDq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QMsdB5RaWdKO7fghL1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qAq4XSSyKKQNOqPmRz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sd53IRS3KQHT37_8QQ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f74EqRR7ukLtonM3nT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ADhT7bSzS5HeH.RaFp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iCn26uREyQ2CmyAT4L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i4ZcpISkmMDVWB6IWy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FtEHOWR2CBgm9JSd7V2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9btEABQq.jFB_QDTnV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bxHyMTJq24S6UKC6Z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.6djGfT9OqYNnhdaE4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6V_0OBSdybZx0ux0Tw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a7aTkOS3yO4Uf5qFsR_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l.4rOyQ76Tt2EDQbsr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wjC8C2T9imwIlH2BU0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iuLAe_S1aQxSSMJJqU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oDXfvdTlO1WKFrRaYl6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tjKioGQIWmSN6NDZiT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E7EUfoRiCEJ_kLU1QjH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AK1rN2RKG1JUM_rPj7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bynxsJT9qrT1GzIDTM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HxUi1HRZWePw9ndDTv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Bgkrk4Rmu0gPmo7RL2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7io9_0SxiNP9VtJJRo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KOGHS6RAa5hkh9IRqO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DKslhaQt.8a2YYFYM3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t1wSfLRmOVsiz7UQNX3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PKMVn1SXiiOg1mAjq6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DRso6bQLm2AnFWOtx8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FZrVnuT8yyTzMHGUPI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xdvU6ORdqXMvpBkF_w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YZR_vMQbGMRWauOuYWJ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wLcis9Qq2SBfBZ3oRp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SAlxoT3ayw3qkUseP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LkUAnSRVSQQ0pvzZ60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0IKaMITWilKdmSNgAa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xYgQw8TC.XE_sOxzt2L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GU7.F3R3uuz3w_lufez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u2FUy0QTyRZGYG6xs9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6MBPq4Ri2XChSYU693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teV3kuR.udCX3hTU5RX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.MSUZuRcySWI2cadbPR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lCQovQQyKe2lw1B3Cp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Ta2uNJRVS4mbc2Tz7k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bcv_viS5iDjs4wXC_P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JPD64PQA.ILWD7lguPW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0Ivo5kQOC4n5rA3RUS6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61W2uUT_qKr0mnuNTu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h4Uop0RN.51T0lFosc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YmfWtWSH2RAYPBrTC84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Uz_PsWQVuiOR7V8BI54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vxqqLARIKDkkHotp7bJ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eTPbPfS7Wgt6GyjZ6o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1QrQIzQ2e9bViaVnWC7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d8kwA1T3Ojrx.D5zOkb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8s7_U4RZKlb_yCjepHP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lL_L9tRZCbLZzolV5az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W0elQbSyaIm0Ww_mgKC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N_X5.ySPmOMmwSCEhiA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QjtdRXTSGrBPqmtINEb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ZYAQFeQLuhueTT9xKJR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.3OlzPTYO7oF9c_YqHT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rAVJ8RRyCif6DYI83q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ptDNCVQeKPQ9P.GOfe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Cca4oVTjyrm6qk5ZfKZ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K84h1JTnSTRyoSAMku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Z7_uBWSxCwK1DYRQDJX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VAYL7eQpehvq_7TO8X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7pGIPQTbOBNPyI.5ph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fnqje9QlKbKLU85sCA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EB2sf1RrWTrXZzWKH3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0tARMiRniJIOSdLH8AS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vSgBGqTf2Lbw0f1ZSKEA"/>
</p:tagLst>
</file>

<file path=ppt/theme/theme1.xml><?xml version="1.0" encoding="utf-8"?>
<a:theme xmlns:a="http://schemas.openxmlformats.org/drawingml/2006/main" name="Enel Template v3.1">
  <a:themeElements>
    <a:clrScheme name="Impostazioni personalizzate 5">
      <a:dk1>
        <a:srgbClr val="000000"/>
      </a:dk1>
      <a:lt1>
        <a:srgbClr val="FFFFFF"/>
      </a:lt1>
      <a:dk2>
        <a:srgbClr val="C6C6C6"/>
      </a:dk2>
      <a:lt2>
        <a:srgbClr val="EDEEE8"/>
      </a:lt2>
      <a:accent1>
        <a:srgbClr val="461E7D"/>
      </a:accent1>
      <a:accent2>
        <a:srgbClr val="0000FA"/>
      </a:accent2>
      <a:accent3>
        <a:srgbClr val="FF009D"/>
      </a:accent3>
      <a:accent4>
        <a:srgbClr val="FF7823"/>
      </a:accent4>
      <a:accent5>
        <a:srgbClr val="1E2C64"/>
      </a:accent5>
      <a:accent6>
        <a:srgbClr val="00FF91"/>
      </a:accent6>
      <a:hlink>
        <a:srgbClr val="00FFFA"/>
      </a:hlink>
      <a:folHlink>
        <a:srgbClr val="FFF55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03D1AA0-280A-A54B-BE41-99998C612D32}" vid="{9E2E30AD-9007-784B-9E4B-ACEEBB141EE9}"/>
    </a:ext>
  </a:extLst>
</a:theme>
</file>

<file path=ppt/theme/theme2.xml><?xml version="1.0" encoding="utf-8"?>
<a:theme xmlns:a="http://schemas.openxmlformats.org/drawingml/2006/main" name="14_Enel FY 2015 scheletr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el_PPTtemplate_v2-6[JPEG+VECTORLOGO]" id="{A78A76FD-14E2-4D80-A313-D0CAB5E218D4}" vid="{C3814A83-8DC5-4303-A835-89EF9FAE18A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29</Words>
  <Application>Microsoft Office PowerPoint</Application>
  <PresentationFormat>Widescreen</PresentationFormat>
  <Paragraphs>362</Paragraphs>
  <Slides>14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14</vt:i4>
      </vt:variant>
    </vt:vector>
  </HeadingPairs>
  <TitlesOfParts>
    <vt:vector size="26" baseType="lpstr">
      <vt:lpstr>Arial</vt:lpstr>
      <vt:lpstr>Calibri</vt:lpstr>
      <vt:lpstr>Calibri Light</vt:lpstr>
      <vt:lpstr>Helvetica Light</vt:lpstr>
      <vt:lpstr>Lucida Grande</vt:lpstr>
      <vt:lpstr>Univers LT Std 65 Bold</vt:lpstr>
      <vt:lpstr>Verdana</vt:lpstr>
      <vt:lpstr>Wingdings</vt:lpstr>
      <vt:lpstr>Enel Template v3.1</vt:lpstr>
      <vt:lpstr>14_Enel FY 2015 scheletro</vt:lpstr>
      <vt:lpstr>think-cell Slide</vt:lpstr>
      <vt:lpstr>Chart</vt:lpstr>
      <vt:lpstr>Enel X e-Mobility</vt:lpstr>
      <vt:lpstr>Il nuovo ecosistema energetico</vt:lpstr>
      <vt:lpstr>Scenari di crescita e annunci dei governi indicano che i veicoli elettrici sono al punto di svolta</vt:lpstr>
      <vt:lpstr>La diffusione della e-Mobility dipende da fattori chiave, quale l’eliminazione del «range anxiety» </vt:lpstr>
      <vt:lpstr>L’autonomia dei veicoli elettrici già oggi garantisce gli spostamenti giornalieri dei clienti</vt:lpstr>
      <vt:lpstr>La diminuzione del costo delle batterie contribuirà alla riduzione del prezzo delle auto</vt:lpstr>
      <vt:lpstr>Le case automobilistiche investiranno sempre più nella produzione di modelli elettrici</vt:lpstr>
      <vt:lpstr>La nostra “vision” in ambito mobilità elettrica</vt:lpstr>
      <vt:lpstr>Presentazione standard di PowerPoint</vt:lpstr>
      <vt:lpstr>Installeremo fino a 14.000 stazioni di ricarica pubbliche entro il 2022</vt:lpstr>
      <vt:lpstr>Offriamo servizi completi per la ricarica domestica tramite wall-box</vt:lpstr>
      <vt:lpstr>Promuoviamo sistemi integrati di mobilità elettrica in ambito aziendale e pubblico</vt:lpstr>
      <vt:lpstr>Un’opportunità di sviluppo industriale per il Sistema Italia!</vt:lpstr>
      <vt:lpstr>   Grazi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7-11-21T19:44:34Z</cp:lastPrinted>
  <dcterms:created xsi:type="dcterms:W3CDTF">2016-02-10T15:14:59Z</dcterms:created>
  <dcterms:modified xsi:type="dcterms:W3CDTF">2018-02-20T15:08:52Z</dcterms:modified>
</cp:coreProperties>
</file>